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69" r:id="rId2"/>
    <p:sldId id="284" r:id="rId3"/>
    <p:sldId id="276" r:id="rId4"/>
    <p:sldId id="285" r:id="rId5"/>
    <p:sldId id="286" r:id="rId6"/>
    <p:sldId id="287" r:id="rId7"/>
    <p:sldId id="288" r:id="rId8"/>
    <p:sldId id="289" r:id="rId9"/>
    <p:sldId id="290" r:id="rId10"/>
    <p:sldId id="291" r:id="rId11"/>
    <p:sldId id="292" r:id="rId12"/>
    <p:sldId id="293" r:id="rId13"/>
    <p:sldId id="294" r:id="rId14"/>
    <p:sldId id="295" r:id="rId15"/>
    <p:sldId id="296" r:id="rId16"/>
    <p:sldId id="268" r:id="rId17"/>
  </p:sldIdLst>
  <p:sldSz cx="12188825" cy="6858000"/>
  <p:notesSz cx="6858000" cy="9144000"/>
  <p:custDataLst>
    <p:tags r:id="rId19"/>
  </p:custDataLst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0" d="100"/>
          <a:sy n="60" d="100"/>
        </p:scale>
        <p:origin x="96" y="36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152705" cy="1527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can safely remove this slide. This slide</a:t>
            </a:r>
            <a:r>
              <a:rPr lang="en-US" baseline="0"/>
              <a:t> design was provided by SlideModel.com – You can download more templates, shapes and elements for PowerPoint from http://slidemodel.c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254F-9338-4BA9-B7AC-A66622A3D013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4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7834" y="2870633"/>
            <a:ext cx="5930678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970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E87ADF-3CCF-449D-8CFA-0B56163A6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63988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0FBDF7E-4AC4-4766-B316-9599CB92D844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t>2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9.xml"/><Relationship Id="rId7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E2245E-23AA-4303-BC66-FE1D36E9FE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88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4EBFC2A-F8B9-4456-8D1C-074D4F9BC2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0" y="0"/>
            <a:ext cx="12188825" cy="54141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9" name="Picture 128" descr="world-map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57822" y="795721"/>
            <a:ext cx="6432278" cy="3294288"/>
          </a:xfrm>
          <a:prstGeom prst="rect">
            <a:avLst/>
          </a:prstGeom>
        </p:spPr>
      </p:pic>
      <p:sp>
        <p:nvSpPr>
          <p:cNvPr id="130" name="Freeform 129"/>
          <p:cNvSpPr/>
          <p:nvPr/>
        </p:nvSpPr>
        <p:spPr>
          <a:xfrm>
            <a:off x="1529791" y="1657342"/>
            <a:ext cx="10718146" cy="5235828"/>
          </a:xfrm>
          <a:custGeom>
            <a:avLst/>
            <a:gdLst>
              <a:gd name="connsiteX0" fmla="*/ 57064 w 7669528"/>
              <a:gd name="connsiteY0" fmla="*/ 3177610 h 5199737"/>
              <a:gd name="connsiteX1" fmla="*/ 901126 w 7669528"/>
              <a:gd name="connsiteY1" fmla="*/ 4781327 h 5199737"/>
              <a:gd name="connsiteX2" fmla="*/ 7583279 w 7669528"/>
              <a:gd name="connsiteY2" fmla="*/ 4781327 h 5199737"/>
              <a:gd name="connsiteX3" fmla="*/ 4446184 w 7669528"/>
              <a:gd name="connsiteY3" fmla="*/ 40514 h 5199737"/>
              <a:gd name="connsiteX4" fmla="*/ 802652 w 7669528"/>
              <a:gd name="connsiteY4" fmla="*/ 2530496 h 5199737"/>
              <a:gd name="connsiteX5" fmla="*/ 57064 w 7669528"/>
              <a:gd name="connsiteY5" fmla="*/ 3177610 h 5199737"/>
              <a:gd name="connsiteX0" fmla="*/ 57064 w 7583279"/>
              <a:gd name="connsiteY0" fmla="*/ 3177610 h 5199737"/>
              <a:gd name="connsiteX1" fmla="*/ 901126 w 7583279"/>
              <a:gd name="connsiteY1" fmla="*/ 4781327 h 5199737"/>
              <a:gd name="connsiteX2" fmla="*/ 7583279 w 7583279"/>
              <a:gd name="connsiteY2" fmla="*/ 4781327 h 5199737"/>
              <a:gd name="connsiteX3" fmla="*/ 4446184 w 7583279"/>
              <a:gd name="connsiteY3" fmla="*/ 40514 h 5199737"/>
              <a:gd name="connsiteX4" fmla="*/ 802652 w 7583279"/>
              <a:gd name="connsiteY4" fmla="*/ 2530496 h 5199737"/>
              <a:gd name="connsiteX5" fmla="*/ 57064 w 7583279"/>
              <a:gd name="connsiteY5" fmla="*/ 3177610 h 5199737"/>
              <a:gd name="connsiteX0" fmla="*/ 57064 w 7583279"/>
              <a:gd name="connsiteY0" fmla="*/ 3177610 h 4781327"/>
              <a:gd name="connsiteX1" fmla="*/ 901126 w 7583279"/>
              <a:gd name="connsiteY1" fmla="*/ 4781327 h 4781327"/>
              <a:gd name="connsiteX2" fmla="*/ 7583279 w 7583279"/>
              <a:gd name="connsiteY2" fmla="*/ 4781327 h 4781327"/>
              <a:gd name="connsiteX3" fmla="*/ 4446184 w 7583279"/>
              <a:gd name="connsiteY3" fmla="*/ 40514 h 4781327"/>
              <a:gd name="connsiteX4" fmla="*/ 802652 w 7583279"/>
              <a:gd name="connsiteY4" fmla="*/ 2530496 h 4781327"/>
              <a:gd name="connsiteX5" fmla="*/ 57064 w 7583279"/>
              <a:gd name="connsiteY5" fmla="*/ 3177610 h 4781327"/>
              <a:gd name="connsiteX0" fmla="*/ 2865 w 7529080"/>
              <a:gd name="connsiteY0" fmla="*/ 3177610 h 4781327"/>
              <a:gd name="connsiteX1" fmla="*/ 846927 w 7529080"/>
              <a:gd name="connsiteY1" fmla="*/ 4781327 h 4781327"/>
              <a:gd name="connsiteX2" fmla="*/ 7529080 w 7529080"/>
              <a:gd name="connsiteY2" fmla="*/ 4781327 h 4781327"/>
              <a:gd name="connsiteX3" fmla="*/ 4391985 w 7529080"/>
              <a:gd name="connsiteY3" fmla="*/ 40514 h 4781327"/>
              <a:gd name="connsiteX4" fmla="*/ 748453 w 7529080"/>
              <a:gd name="connsiteY4" fmla="*/ 2530496 h 4781327"/>
              <a:gd name="connsiteX5" fmla="*/ 2865 w 7529080"/>
              <a:gd name="connsiteY5" fmla="*/ 3177610 h 4781327"/>
              <a:gd name="connsiteX0" fmla="*/ 0 w 7526215"/>
              <a:gd name="connsiteY0" fmla="*/ 3177610 h 4781327"/>
              <a:gd name="connsiteX1" fmla="*/ 844062 w 7526215"/>
              <a:gd name="connsiteY1" fmla="*/ 4781327 h 4781327"/>
              <a:gd name="connsiteX2" fmla="*/ 7526215 w 7526215"/>
              <a:gd name="connsiteY2" fmla="*/ 4781327 h 4781327"/>
              <a:gd name="connsiteX3" fmla="*/ 4389120 w 7526215"/>
              <a:gd name="connsiteY3" fmla="*/ 40514 h 4781327"/>
              <a:gd name="connsiteX4" fmla="*/ 745588 w 7526215"/>
              <a:gd name="connsiteY4" fmla="*/ 2530496 h 4781327"/>
              <a:gd name="connsiteX5" fmla="*/ 0 w 7526215"/>
              <a:gd name="connsiteY5" fmla="*/ 3177610 h 4781327"/>
              <a:gd name="connsiteX0" fmla="*/ 0 w 7526215"/>
              <a:gd name="connsiteY0" fmla="*/ 3137096 h 4740813"/>
              <a:gd name="connsiteX1" fmla="*/ 844062 w 7526215"/>
              <a:gd name="connsiteY1" fmla="*/ 4740813 h 4740813"/>
              <a:gd name="connsiteX2" fmla="*/ 7526215 w 7526215"/>
              <a:gd name="connsiteY2" fmla="*/ 4740813 h 4740813"/>
              <a:gd name="connsiteX3" fmla="*/ 4389120 w 7526215"/>
              <a:gd name="connsiteY3" fmla="*/ 0 h 4740813"/>
              <a:gd name="connsiteX4" fmla="*/ 745588 w 7526215"/>
              <a:gd name="connsiteY4" fmla="*/ 2489982 h 4740813"/>
              <a:gd name="connsiteX5" fmla="*/ 0 w 7526215"/>
              <a:gd name="connsiteY5" fmla="*/ 3137096 h 4740813"/>
              <a:gd name="connsiteX0" fmla="*/ 3399 w 7605410"/>
              <a:gd name="connsiteY0" fmla="*/ 3137096 h 5095652"/>
              <a:gd name="connsiteX1" fmla="*/ 1058477 w 7605410"/>
              <a:gd name="connsiteY1" fmla="*/ 4754880 h 5095652"/>
              <a:gd name="connsiteX2" fmla="*/ 7529614 w 7605410"/>
              <a:gd name="connsiteY2" fmla="*/ 4740813 h 5095652"/>
              <a:gd name="connsiteX3" fmla="*/ 4392519 w 7605410"/>
              <a:gd name="connsiteY3" fmla="*/ 0 h 5095652"/>
              <a:gd name="connsiteX4" fmla="*/ 748987 w 7605410"/>
              <a:gd name="connsiteY4" fmla="*/ 2489982 h 5095652"/>
              <a:gd name="connsiteX5" fmla="*/ 3399 w 7605410"/>
              <a:gd name="connsiteY5" fmla="*/ 3137096 h 5095652"/>
              <a:gd name="connsiteX0" fmla="*/ 3399 w 7605410"/>
              <a:gd name="connsiteY0" fmla="*/ 3137096 h 4754880"/>
              <a:gd name="connsiteX1" fmla="*/ 1058477 w 7605410"/>
              <a:gd name="connsiteY1" fmla="*/ 4754880 h 4754880"/>
              <a:gd name="connsiteX2" fmla="*/ 7529614 w 7605410"/>
              <a:gd name="connsiteY2" fmla="*/ 4740813 h 4754880"/>
              <a:gd name="connsiteX3" fmla="*/ 4392519 w 7605410"/>
              <a:gd name="connsiteY3" fmla="*/ 0 h 4754880"/>
              <a:gd name="connsiteX4" fmla="*/ 748987 w 7605410"/>
              <a:gd name="connsiteY4" fmla="*/ 2489982 h 4754880"/>
              <a:gd name="connsiteX5" fmla="*/ 3399 w 7605410"/>
              <a:gd name="connsiteY5" fmla="*/ 3137096 h 4754880"/>
              <a:gd name="connsiteX0" fmla="*/ 3399 w 7529614"/>
              <a:gd name="connsiteY0" fmla="*/ 3137096 h 4754880"/>
              <a:gd name="connsiteX1" fmla="*/ 1058477 w 7529614"/>
              <a:gd name="connsiteY1" fmla="*/ 4754880 h 4754880"/>
              <a:gd name="connsiteX2" fmla="*/ 7529614 w 7529614"/>
              <a:gd name="connsiteY2" fmla="*/ 4740813 h 4754880"/>
              <a:gd name="connsiteX3" fmla="*/ 4392519 w 7529614"/>
              <a:gd name="connsiteY3" fmla="*/ 0 h 4754880"/>
              <a:gd name="connsiteX4" fmla="*/ 748987 w 7529614"/>
              <a:gd name="connsiteY4" fmla="*/ 2489982 h 4754880"/>
              <a:gd name="connsiteX5" fmla="*/ 3399 w 7529614"/>
              <a:gd name="connsiteY5" fmla="*/ 3137096 h 4754880"/>
              <a:gd name="connsiteX0" fmla="*/ 0 w 7526215"/>
              <a:gd name="connsiteY0" fmla="*/ 3137096 h 4754880"/>
              <a:gd name="connsiteX1" fmla="*/ 1055078 w 7526215"/>
              <a:gd name="connsiteY1" fmla="*/ 4754880 h 4754880"/>
              <a:gd name="connsiteX2" fmla="*/ 7526215 w 7526215"/>
              <a:gd name="connsiteY2" fmla="*/ 4740813 h 4754880"/>
              <a:gd name="connsiteX3" fmla="*/ 4389120 w 7526215"/>
              <a:gd name="connsiteY3" fmla="*/ 0 h 4754880"/>
              <a:gd name="connsiteX4" fmla="*/ 745588 w 7526215"/>
              <a:gd name="connsiteY4" fmla="*/ 2489982 h 4754880"/>
              <a:gd name="connsiteX5" fmla="*/ 0 w 7526215"/>
              <a:gd name="connsiteY5" fmla="*/ 3137096 h 4754880"/>
              <a:gd name="connsiteX0" fmla="*/ 0 w 7526215"/>
              <a:gd name="connsiteY0" fmla="*/ 3137096 h 4754880"/>
              <a:gd name="connsiteX1" fmla="*/ 1055078 w 7526215"/>
              <a:gd name="connsiteY1" fmla="*/ 4754880 h 4754880"/>
              <a:gd name="connsiteX2" fmla="*/ 7526215 w 7526215"/>
              <a:gd name="connsiteY2" fmla="*/ 4740813 h 4754880"/>
              <a:gd name="connsiteX3" fmla="*/ 4389120 w 7526215"/>
              <a:gd name="connsiteY3" fmla="*/ 0 h 4754880"/>
              <a:gd name="connsiteX4" fmla="*/ 745588 w 7526215"/>
              <a:gd name="connsiteY4" fmla="*/ 2489982 h 4754880"/>
              <a:gd name="connsiteX5" fmla="*/ 0 w 7526215"/>
              <a:gd name="connsiteY5" fmla="*/ 3137096 h 4754880"/>
              <a:gd name="connsiteX0" fmla="*/ 0 w 7526215"/>
              <a:gd name="connsiteY0" fmla="*/ 3574000 h 5191784"/>
              <a:gd name="connsiteX1" fmla="*/ 1055078 w 7526215"/>
              <a:gd name="connsiteY1" fmla="*/ 5191784 h 5191784"/>
              <a:gd name="connsiteX2" fmla="*/ 7526215 w 7526215"/>
              <a:gd name="connsiteY2" fmla="*/ 5177717 h 5191784"/>
              <a:gd name="connsiteX3" fmla="*/ 4389120 w 7526215"/>
              <a:gd name="connsiteY3" fmla="*/ 436904 h 5191784"/>
              <a:gd name="connsiteX4" fmla="*/ 3915648 w 7526215"/>
              <a:gd name="connsiteY4" fmla="*/ 18232 h 5191784"/>
              <a:gd name="connsiteX5" fmla="*/ 745588 w 7526215"/>
              <a:gd name="connsiteY5" fmla="*/ 2926886 h 5191784"/>
              <a:gd name="connsiteX6" fmla="*/ 0 w 7526215"/>
              <a:gd name="connsiteY6" fmla="*/ 3574000 h 5191784"/>
              <a:gd name="connsiteX0" fmla="*/ 0 w 7526215"/>
              <a:gd name="connsiteY0" fmla="*/ 3627397 h 5245181"/>
              <a:gd name="connsiteX1" fmla="*/ 1055078 w 7526215"/>
              <a:gd name="connsiteY1" fmla="*/ 5245181 h 5245181"/>
              <a:gd name="connsiteX2" fmla="*/ 7526215 w 7526215"/>
              <a:gd name="connsiteY2" fmla="*/ 5231114 h 5245181"/>
              <a:gd name="connsiteX3" fmla="*/ 4389120 w 7526215"/>
              <a:gd name="connsiteY3" fmla="*/ 490301 h 5245181"/>
              <a:gd name="connsiteX4" fmla="*/ 3956591 w 7526215"/>
              <a:gd name="connsiteY4" fmla="*/ 17038 h 5245181"/>
              <a:gd name="connsiteX5" fmla="*/ 745588 w 7526215"/>
              <a:gd name="connsiteY5" fmla="*/ 2980283 h 5245181"/>
              <a:gd name="connsiteX6" fmla="*/ 0 w 7526215"/>
              <a:gd name="connsiteY6" fmla="*/ 3627397 h 5245181"/>
              <a:gd name="connsiteX0" fmla="*/ 0 w 7526215"/>
              <a:gd name="connsiteY0" fmla="*/ 3610359 h 5228143"/>
              <a:gd name="connsiteX1" fmla="*/ 1055078 w 7526215"/>
              <a:gd name="connsiteY1" fmla="*/ 5228143 h 5228143"/>
              <a:gd name="connsiteX2" fmla="*/ 7526215 w 7526215"/>
              <a:gd name="connsiteY2" fmla="*/ 5214076 h 5228143"/>
              <a:gd name="connsiteX3" fmla="*/ 4389120 w 7526215"/>
              <a:gd name="connsiteY3" fmla="*/ 473263 h 5228143"/>
              <a:gd name="connsiteX4" fmla="*/ 3956591 w 7526215"/>
              <a:gd name="connsiteY4" fmla="*/ 0 h 5228143"/>
              <a:gd name="connsiteX5" fmla="*/ 745588 w 7526215"/>
              <a:gd name="connsiteY5" fmla="*/ 2963245 h 5228143"/>
              <a:gd name="connsiteX6" fmla="*/ 0 w 7526215"/>
              <a:gd name="connsiteY6" fmla="*/ 3610359 h 5228143"/>
              <a:gd name="connsiteX0" fmla="*/ 0 w 7526215"/>
              <a:gd name="connsiteY0" fmla="*/ 3610359 h 5228143"/>
              <a:gd name="connsiteX1" fmla="*/ 1055078 w 7526215"/>
              <a:gd name="connsiteY1" fmla="*/ 5228143 h 5228143"/>
              <a:gd name="connsiteX2" fmla="*/ 7526215 w 7526215"/>
              <a:gd name="connsiteY2" fmla="*/ 5214076 h 5228143"/>
              <a:gd name="connsiteX3" fmla="*/ 4389120 w 7526215"/>
              <a:gd name="connsiteY3" fmla="*/ 473263 h 5228143"/>
              <a:gd name="connsiteX4" fmla="*/ 4256842 w 7526215"/>
              <a:gd name="connsiteY4" fmla="*/ 532264 h 5228143"/>
              <a:gd name="connsiteX5" fmla="*/ 3956591 w 7526215"/>
              <a:gd name="connsiteY5" fmla="*/ 0 h 5228143"/>
              <a:gd name="connsiteX6" fmla="*/ 745588 w 7526215"/>
              <a:gd name="connsiteY6" fmla="*/ 2963245 h 5228143"/>
              <a:gd name="connsiteX7" fmla="*/ 0 w 7526215"/>
              <a:gd name="connsiteY7" fmla="*/ 3610359 h 5228143"/>
              <a:gd name="connsiteX0" fmla="*/ 45686 w 11313907"/>
              <a:gd name="connsiteY0" fmla="*/ 3610359 h 5347979"/>
              <a:gd name="connsiteX1" fmla="*/ 1100764 w 11313907"/>
              <a:gd name="connsiteY1" fmla="*/ 5228143 h 5347979"/>
              <a:gd name="connsiteX2" fmla="*/ 11313907 w 11313907"/>
              <a:gd name="connsiteY2" fmla="*/ 5228144 h 5347979"/>
              <a:gd name="connsiteX3" fmla="*/ 4434806 w 11313907"/>
              <a:gd name="connsiteY3" fmla="*/ 473263 h 5347979"/>
              <a:gd name="connsiteX4" fmla="*/ 4302528 w 11313907"/>
              <a:gd name="connsiteY4" fmla="*/ 532264 h 5347979"/>
              <a:gd name="connsiteX5" fmla="*/ 4002277 w 11313907"/>
              <a:gd name="connsiteY5" fmla="*/ 0 h 5347979"/>
              <a:gd name="connsiteX6" fmla="*/ 791274 w 11313907"/>
              <a:gd name="connsiteY6" fmla="*/ 2963245 h 5347979"/>
              <a:gd name="connsiteX7" fmla="*/ 45686 w 11313907"/>
              <a:gd name="connsiteY7" fmla="*/ 3610359 h 5347979"/>
              <a:gd name="connsiteX0" fmla="*/ 0 w 11268221"/>
              <a:gd name="connsiteY0" fmla="*/ 3610359 h 5347979"/>
              <a:gd name="connsiteX1" fmla="*/ 1055078 w 11268221"/>
              <a:gd name="connsiteY1" fmla="*/ 5228143 h 5347979"/>
              <a:gd name="connsiteX2" fmla="*/ 11268221 w 11268221"/>
              <a:gd name="connsiteY2" fmla="*/ 5228144 h 5347979"/>
              <a:gd name="connsiteX3" fmla="*/ 4389120 w 11268221"/>
              <a:gd name="connsiteY3" fmla="*/ 473263 h 5347979"/>
              <a:gd name="connsiteX4" fmla="*/ 4256842 w 11268221"/>
              <a:gd name="connsiteY4" fmla="*/ 532264 h 5347979"/>
              <a:gd name="connsiteX5" fmla="*/ 3956591 w 11268221"/>
              <a:gd name="connsiteY5" fmla="*/ 0 h 5347979"/>
              <a:gd name="connsiteX6" fmla="*/ 745588 w 11268221"/>
              <a:gd name="connsiteY6" fmla="*/ 2963245 h 5347979"/>
              <a:gd name="connsiteX7" fmla="*/ 0 w 11268221"/>
              <a:gd name="connsiteY7" fmla="*/ 3610359 h 5347979"/>
              <a:gd name="connsiteX0" fmla="*/ 0 w 12138484"/>
              <a:gd name="connsiteY0" fmla="*/ 3610359 h 5455649"/>
              <a:gd name="connsiteX1" fmla="*/ 1055078 w 12138484"/>
              <a:gd name="connsiteY1" fmla="*/ 5228143 h 5455649"/>
              <a:gd name="connsiteX2" fmla="*/ 11268221 w 12138484"/>
              <a:gd name="connsiteY2" fmla="*/ 5228144 h 5455649"/>
              <a:gd name="connsiteX3" fmla="*/ 11226019 w 12138484"/>
              <a:gd name="connsiteY3" fmla="*/ 3216463 h 5455649"/>
              <a:gd name="connsiteX4" fmla="*/ 4389120 w 12138484"/>
              <a:gd name="connsiteY4" fmla="*/ 473263 h 5455649"/>
              <a:gd name="connsiteX5" fmla="*/ 4256842 w 12138484"/>
              <a:gd name="connsiteY5" fmla="*/ 532264 h 5455649"/>
              <a:gd name="connsiteX6" fmla="*/ 3956591 w 12138484"/>
              <a:gd name="connsiteY6" fmla="*/ 0 h 5455649"/>
              <a:gd name="connsiteX7" fmla="*/ 745588 w 12138484"/>
              <a:gd name="connsiteY7" fmla="*/ 2963245 h 5455649"/>
              <a:gd name="connsiteX8" fmla="*/ 0 w 12138484"/>
              <a:gd name="connsiteY8" fmla="*/ 3610359 h 5455649"/>
              <a:gd name="connsiteX0" fmla="*/ 0 w 12205331"/>
              <a:gd name="connsiteY0" fmla="*/ 3610359 h 5455649"/>
              <a:gd name="connsiteX1" fmla="*/ 1055078 w 12205331"/>
              <a:gd name="connsiteY1" fmla="*/ 5228143 h 5455649"/>
              <a:gd name="connsiteX2" fmla="*/ 11268221 w 12205331"/>
              <a:gd name="connsiteY2" fmla="*/ 5228144 h 5455649"/>
              <a:gd name="connsiteX3" fmla="*/ 11226019 w 12205331"/>
              <a:gd name="connsiteY3" fmla="*/ 3216463 h 5455649"/>
              <a:gd name="connsiteX4" fmla="*/ 6583679 w 12205331"/>
              <a:gd name="connsiteY4" fmla="*/ 3596291 h 5455649"/>
              <a:gd name="connsiteX5" fmla="*/ 4389120 w 12205331"/>
              <a:gd name="connsiteY5" fmla="*/ 473263 h 5455649"/>
              <a:gd name="connsiteX6" fmla="*/ 4256842 w 12205331"/>
              <a:gd name="connsiteY6" fmla="*/ 532264 h 5455649"/>
              <a:gd name="connsiteX7" fmla="*/ 3956591 w 12205331"/>
              <a:gd name="connsiteY7" fmla="*/ 0 h 5455649"/>
              <a:gd name="connsiteX8" fmla="*/ 745588 w 12205331"/>
              <a:gd name="connsiteY8" fmla="*/ 2963245 h 5455649"/>
              <a:gd name="connsiteX9" fmla="*/ 0 w 12205331"/>
              <a:gd name="connsiteY9" fmla="*/ 3610359 h 5455649"/>
              <a:gd name="connsiteX0" fmla="*/ 0 w 12205331"/>
              <a:gd name="connsiteY0" fmla="*/ 3610359 h 5455649"/>
              <a:gd name="connsiteX1" fmla="*/ 1055078 w 12205331"/>
              <a:gd name="connsiteY1" fmla="*/ 5228143 h 5455649"/>
              <a:gd name="connsiteX2" fmla="*/ 11268221 w 12205331"/>
              <a:gd name="connsiteY2" fmla="*/ 5228144 h 5455649"/>
              <a:gd name="connsiteX3" fmla="*/ 11226019 w 12205331"/>
              <a:gd name="connsiteY3" fmla="*/ 3216463 h 5455649"/>
              <a:gd name="connsiteX4" fmla="*/ 6330460 w 12205331"/>
              <a:gd name="connsiteY4" fmla="*/ 3188327 h 5455649"/>
              <a:gd name="connsiteX5" fmla="*/ 4389120 w 12205331"/>
              <a:gd name="connsiteY5" fmla="*/ 473263 h 5455649"/>
              <a:gd name="connsiteX6" fmla="*/ 4256842 w 12205331"/>
              <a:gd name="connsiteY6" fmla="*/ 532264 h 5455649"/>
              <a:gd name="connsiteX7" fmla="*/ 3956591 w 12205331"/>
              <a:gd name="connsiteY7" fmla="*/ 0 h 5455649"/>
              <a:gd name="connsiteX8" fmla="*/ 745588 w 12205331"/>
              <a:gd name="connsiteY8" fmla="*/ 2963245 h 5455649"/>
              <a:gd name="connsiteX9" fmla="*/ 0 w 12205331"/>
              <a:gd name="connsiteY9" fmla="*/ 3610359 h 5455649"/>
              <a:gd name="connsiteX0" fmla="*/ 0 w 12205331"/>
              <a:gd name="connsiteY0" fmla="*/ 3610359 h 5455649"/>
              <a:gd name="connsiteX1" fmla="*/ 1055078 w 12205331"/>
              <a:gd name="connsiteY1" fmla="*/ 5228143 h 5455649"/>
              <a:gd name="connsiteX2" fmla="*/ 11268221 w 12205331"/>
              <a:gd name="connsiteY2" fmla="*/ 5228144 h 5455649"/>
              <a:gd name="connsiteX3" fmla="*/ 11226019 w 12205331"/>
              <a:gd name="connsiteY3" fmla="*/ 3216463 h 5455649"/>
              <a:gd name="connsiteX4" fmla="*/ 6330460 w 12205331"/>
              <a:gd name="connsiteY4" fmla="*/ 3188327 h 5455649"/>
              <a:gd name="connsiteX5" fmla="*/ 4389120 w 12205331"/>
              <a:gd name="connsiteY5" fmla="*/ 473263 h 5455649"/>
              <a:gd name="connsiteX6" fmla="*/ 4256842 w 12205331"/>
              <a:gd name="connsiteY6" fmla="*/ 532264 h 5455649"/>
              <a:gd name="connsiteX7" fmla="*/ 3956591 w 12205331"/>
              <a:gd name="connsiteY7" fmla="*/ 0 h 5455649"/>
              <a:gd name="connsiteX8" fmla="*/ 745588 w 12205331"/>
              <a:gd name="connsiteY8" fmla="*/ 2963245 h 5455649"/>
              <a:gd name="connsiteX9" fmla="*/ 0 w 12205331"/>
              <a:gd name="connsiteY9" fmla="*/ 3610359 h 5455649"/>
              <a:gd name="connsiteX0" fmla="*/ 0 w 12210176"/>
              <a:gd name="connsiteY0" fmla="*/ 3610359 h 5455649"/>
              <a:gd name="connsiteX1" fmla="*/ 1055078 w 12210176"/>
              <a:gd name="connsiteY1" fmla="*/ 5228143 h 5455649"/>
              <a:gd name="connsiteX2" fmla="*/ 11268221 w 12210176"/>
              <a:gd name="connsiteY2" fmla="*/ 5228144 h 5455649"/>
              <a:gd name="connsiteX3" fmla="*/ 11226019 w 12210176"/>
              <a:gd name="connsiteY3" fmla="*/ 3216463 h 5455649"/>
              <a:gd name="connsiteX4" fmla="*/ 6639950 w 12210176"/>
              <a:gd name="connsiteY4" fmla="*/ 3033583 h 5455649"/>
              <a:gd name="connsiteX5" fmla="*/ 6330460 w 12210176"/>
              <a:gd name="connsiteY5" fmla="*/ 3188327 h 5455649"/>
              <a:gd name="connsiteX6" fmla="*/ 4389120 w 12210176"/>
              <a:gd name="connsiteY6" fmla="*/ 473263 h 5455649"/>
              <a:gd name="connsiteX7" fmla="*/ 4256842 w 12210176"/>
              <a:gd name="connsiteY7" fmla="*/ 532264 h 5455649"/>
              <a:gd name="connsiteX8" fmla="*/ 3956591 w 12210176"/>
              <a:gd name="connsiteY8" fmla="*/ 0 h 5455649"/>
              <a:gd name="connsiteX9" fmla="*/ 745588 w 12210176"/>
              <a:gd name="connsiteY9" fmla="*/ 2963245 h 5455649"/>
              <a:gd name="connsiteX10" fmla="*/ 0 w 12210176"/>
              <a:gd name="connsiteY10" fmla="*/ 3610359 h 5455649"/>
              <a:gd name="connsiteX0" fmla="*/ 0 w 12210176"/>
              <a:gd name="connsiteY0" fmla="*/ 3610359 h 5455649"/>
              <a:gd name="connsiteX1" fmla="*/ 1055078 w 12210176"/>
              <a:gd name="connsiteY1" fmla="*/ 5228143 h 5455649"/>
              <a:gd name="connsiteX2" fmla="*/ 11268221 w 12210176"/>
              <a:gd name="connsiteY2" fmla="*/ 5228144 h 5455649"/>
              <a:gd name="connsiteX3" fmla="*/ 11226019 w 12210176"/>
              <a:gd name="connsiteY3" fmla="*/ 3216463 h 5455649"/>
              <a:gd name="connsiteX4" fmla="*/ 6639950 w 12210176"/>
              <a:gd name="connsiteY4" fmla="*/ 3033583 h 5455649"/>
              <a:gd name="connsiteX5" fmla="*/ 6330460 w 12210176"/>
              <a:gd name="connsiteY5" fmla="*/ 3188327 h 5455649"/>
              <a:gd name="connsiteX6" fmla="*/ 4389120 w 12210176"/>
              <a:gd name="connsiteY6" fmla="*/ 473263 h 5455649"/>
              <a:gd name="connsiteX7" fmla="*/ 4256842 w 12210176"/>
              <a:gd name="connsiteY7" fmla="*/ 532264 h 5455649"/>
              <a:gd name="connsiteX8" fmla="*/ 3956591 w 12210176"/>
              <a:gd name="connsiteY8" fmla="*/ 0 h 5455649"/>
              <a:gd name="connsiteX9" fmla="*/ 745588 w 12210176"/>
              <a:gd name="connsiteY9" fmla="*/ 2963245 h 5455649"/>
              <a:gd name="connsiteX10" fmla="*/ 0 w 12210176"/>
              <a:gd name="connsiteY10" fmla="*/ 3610359 h 5455649"/>
              <a:gd name="connsiteX0" fmla="*/ 0 w 12171517"/>
              <a:gd name="connsiteY0" fmla="*/ 3610359 h 5455649"/>
              <a:gd name="connsiteX1" fmla="*/ 1055078 w 12171517"/>
              <a:gd name="connsiteY1" fmla="*/ 5228143 h 5455649"/>
              <a:gd name="connsiteX2" fmla="*/ 11268221 w 12171517"/>
              <a:gd name="connsiteY2" fmla="*/ 5228144 h 5455649"/>
              <a:gd name="connsiteX3" fmla="*/ 11226019 w 12171517"/>
              <a:gd name="connsiteY3" fmla="*/ 3216463 h 5455649"/>
              <a:gd name="connsiteX4" fmla="*/ 6400798 w 12171517"/>
              <a:gd name="connsiteY4" fmla="*/ 2864771 h 5455649"/>
              <a:gd name="connsiteX5" fmla="*/ 6639950 w 12171517"/>
              <a:gd name="connsiteY5" fmla="*/ 3033583 h 5455649"/>
              <a:gd name="connsiteX6" fmla="*/ 6330460 w 12171517"/>
              <a:gd name="connsiteY6" fmla="*/ 3188327 h 5455649"/>
              <a:gd name="connsiteX7" fmla="*/ 4389120 w 12171517"/>
              <a:gd name="connsiteY7" fmla="*/ 473263 h 5455649"/>
              <a:gd name="connsiteX8" fmla="*/ 4256842 w 12171517"/>
              <a:gd name="connsiteY8" fmla="*/ 532264 h 5455649"/>
              <a:gd name="connsiteX9" fmla="*/ 3956591 w 12171517"/>
              <a:gd name="connsiteY9" fmla="*/ 0 h 5455649"/>
              <a:gd name="connsiteX10" fmla="*/ 745588 w 12171517"/>
              <a:gd name="connsiteY10" fmla="*/ 2963245 h 5455649"/>
              <a:gd name="connsiteX11" fmla="*/ 0 w 12171517"/>
              <a:gd name="connsiteY11" fmla="*/ 3610359 h 5455649"/>
              <a:gd name="connsiteX0" fmla="*/ 0 w 12176833"/>
              <a:gd name="connsiteY0" fmla="*/ 3610359 h 5455649"/>
              <a:gd name="connsiteX1" fmla="*/ 1055078 w 12176833"/>
              <a:gd name="connsiteY1" fmla="*/ 5228143 h 5455649"/>
              <a:gd name="connsiteX2" fmla="*/ 11268221 w 12176833"/>
              <a:gd name="connsiteY2" fmla="*/ 5228144 h 5455649"/>
              <a:gd name="connsiteX3" fmla="*/ 11226019 w 12176833"/>
              <a:gd name="connsiteY3" fmla="*/ 3216463 h 5455649"/>
              <a:gd name="connsiteX4" fmla="*/ 6471138 w 12176833"/>
              <a:gd name="connsiteY4" fmla="*/ 2161386 h 5455649"/>
              <a:gd name="connsiteX5" fmla="*/ 6400798 w 12176833"/>
              <a:gd name="connsiteY5" fmla="*/ 2864771 h 5455649"/>
              <a:gd name="connsiteX6" fmla="*/ 6639950 w 12176833"/>
              <a:gd name="connsiteY6" fmla="*/ 3033583 h 5455649"/>
              <a:gd name="connsiteX7" fmla="*/ 6330460 w 12176833"/>
              <a:gd name="connsiteY7" fmla="*/ 3188327 h 5455649"/>
              <a:gd name="connsiteX8" fmla="*/ 4389120 w 12176833"/>
              <a:gd name="connsiteY8" fmla="*/ 473263 h 5455649"/>
              <a:gd name="connsiteX9" fmla="*/ 4256842 w 12176833"/>
              <a:gd name="connsiteY9" fmla="*/ 532264 h 5455649"/>
              <a:gd name="connsiteX10" fmla="*/ 3956591 w 12176833"/>
              <a:gd name="connsiteY10" fmla="*/ 0 h 5455649"/>
              <a:gd name="connsiteX11" fmla="*/ 745588 w 12176833"/>
              <a:gd name="connsiteY11" fmla="*/ 2963245 h 5455649"/>
              <a:gd name="connsiteX12" fmla="*/ 0 w 12176833"/>
              <a:gd name="connsiteY12" fmla="*/ 3610359 h 5455649"/>
              <a:gd name="connsiteX0" fmla="*/ 0 w 12176833"/>
              <a:gd name="connsiteY0" fmla="*/ 3610359 h 5455649"/>
              <a:gd name="connsiteX1" fmla="*/ 1055078 w 12176833"/>
              <a:gd name="connsiteY1" fmla="*/ 5228143 h 5455649"/>
              <a:gd name="connsiteX2" fmla="*/ 11268221 w 12176833"/>
              <a:gd name="connsiteY2" fmla="*/ 5228144 h 5455649"/>
              <a:gd name="connsiteX3" fmla="*/ 11226019 w 12176833"/>
              <a:gd name="connsiteY3" fmla="*/ 3216463 h 5455649"/>
              <a:gd name="connsiteX4" fmla="*/ 6471138 w 12176833"/>
              <a:gd name="connsiteY4" fmla="*/ 2161386 h 5455649"/>
              <a:gd name="connsiteX5" fmla="*/ 6400798 w 12176833"/>
              <a:gd name="connsiteY5" fmla="*/ 2864771 h 5455649"/>
              <a:gd name="connsiteX6" fmla="*/ 6639950 w 12176833"/>
              <a:gd name="connsiteY6" fmla="*/ 3033583 h 5455649"/>
              <a:gd name="connsiteX7" fmla="*/ 6330460 w 12176833"/>
              <a:gd name="connsiteY7" fmla="*/ 3188327 h 5455649"/>
              <a:gd name="connsiteX8" fmla="*/ 4389120 w 12176833"/>
              <a:gd name="connsiteY8" fmla="*/ 473263 h 5455649"/>
              <a:gd name="connsiteX9" fmla="*/ 4256842 w 12176833"/>
              <a:gd name="connsiteY9" fmla="*/ 532264 h 5455649"/>
              <a:gd name="connsiteX10" fmla="*/ 3956591 w 12176833"/>
              <a:gd name="connsiteY10" fmla="*/ 0 h 5455649"/>
              <a:gd name="connsiteX11" fmla="*/ 745588 w 12176833"/>
              <a:gd name="connsiteY11" fmla="*/ 2963245 h 5455649"/>
              <a:gd name="connsiteX12" fmla="*/ 0 w 12176833"/>
              <a:gd name="connsiteY12" fmla="*/ 3610359 h 5455649"/>
              <a:gd name="connsiteX0" fmla="*/ 0 w 12176833"/>
              <a:gd name="connsiteY0" fmla="*/ 3610359 h 5455649"/>
              <a:gd name="connsiteX1" fmla="*/ 1055078 w 12176833"/>
              <a:gd name="connsiteY1" fmla="*/ 5228143 h 5455649"/>
              <a:gd name="connsiteX2" fmla="*/ 11268221 w 12176833"/>
              <a:gd name="connsiteY2" fmla="*/ 5228144 h 5455649"/>
              <a:gd name="connsiteX3" fmla="*/ 11226019 w 12176833"/>
              <a:gd name="connsiteY3" fmla="*/ 3216463 h 5455649"/>
              <a:gd name="connsiteX4" fmla="*/ 5852159 w 12176833"/>
              <a:gd name="connsiteY4" fmla="*/ 1584610 h 5455649"/>
              <a:gd name="connsiteX5" fmla="*/ 6400798 w 12176833"/>
              <a:gd name="connsiteY5" fmla="*/ 2864771 h 5455649"/>
              <a:gd name="connsiteX6" fmla="*/ 6639950 w 12176833"/>
              <a:gd name="connsiteY6" fmla="*/ 3033583 h 5455649"/>
              <a:gd name="connsiteX7" fmla="*/ 6330460 w 12176833"/>
              <a:gd name="connsiteY7" fmla="*/ 3188327 h 5455649"/>
              <a:gd name="connsiteX8" fmla="*/ 4389120 w 12176833"/>
              <a:gd name="connsiteY8" fmla="*/ 473263 h 5455649"/>
              <a:gd name="connsiteX9" fmla="*/ 4256842 w 12176833"/>
              <a:gd name="connsiteY9" fmla="*/ 532264 h 5455649"/>
              <a:gd name="connsiteX10" fmla="*/ 3956591 w 12176833"/>
              <a:gd name="connsiteY10" fmla="*/ 0 h 5455649"/>
              <a:gd name="connsiteX11" fmla="*/ 745588 w 12176833"/>
              <a:gd name="connsiteY11" fmla="*/ 2963245 h 5455649"/>
              <a:gd name="connsiteX12" fmla="*/ 0 w 12176833"/>
              <a:gd name="connsiteY12" fmla="*/ 3610359 h 5455649"/>
              <a:gd name="connsiteX0" fmla="*/ 0 w 12176833"/>
              <a:gd name="connsiteY0" fmla="*/ 3610359 h 5455649"/>
              <a:gd name="connsiteX1" fmla="*/ 1055078 w 12176833"/>
              <a:gd name="connsiteY1" fmla="*/ 5228143 h 5455649"/>
              <a:gd name="connsiteX2" fmla="*/ 11268221 w 12176833"/>
              <a:gd name="connsiteY2" fmla="*/ 5228144 h 5455649"/>
              <a:gd name="connsiteX3" fmla="*/ 11226019 w 12176833"/>
              <a:gd name="connsiteY3" fmla="*/ 3216463 h 5455649"/>
              <a:gd name="connsiteX4" fmla="*/ 5852159 w 12176833"/>
              <a:gd name="connsiteY4" fmla="*/ 1584610 h 5455649"/>
              <a:gd name="connsiteX5" fmla="*/ 6485204 w 12176833"/>
              <a:gd name="connsiteY5" fmla="*/ 2527146 h 5455649"/>
              <a:gd name="connsiteX6" fmla="*/ 6639950 w 12176833"/>
              <a:gd name="connsiteY6" fmla="*/ 3033583 h 5455649"/>
              <a:gd name="connsiteX7" fmla="*/ 6330460 w 12176833"/>
              <a:gd name="connsiteY7" fmla="*/ 3188327 h 5455649"/>
              <a:gd name="connsiteX8" fmla="*/ 4389120 w 12176833"/>
              <a:gd name="connsiteY8" fmla="*/ 473263 h 5455649"/>
              <a:gd name="connsiteX9" fmla="*/ 4256842 w 12176833"/>
              <a:gd name="connsiteY9" fmla="*/ 532264 h 5455649"/>
              <a:gd name="connsiteX10" fmla="*/ 3956591 w 12176833"/>
              <a:gd name="connsiteY10" fmla="*/ 0 h 5455649"/>
              <a:gd name="connsiteX11" fmla="*/ 745588 w 12176833"/>
              <a:gd name="connsiteY11" fmla="*/ 2963245 h 5455649"/>
              <a:gd name="connsiteX12" fmla="*/ 0 w 12176833"/>
              <a:gd name="connsiteY12" fmla="*/ 3610359 h 5455649"/>
              <a:gd name="connsiteX0" fmla="*/ 0 w 12176833"/>
              <a:gd name="connsiteY0" fmla="*/ 3610359 h 5455649"/>
              <a:gd name="connsiteX1" fmla="*/ 1055078 w 12176833"/>
              <a:gd name="connsiteY1" fmla="*/ 5228143 h 5455649"/>
              <a:gd name="connsiteX2" fmla="*/ 11268221 w 12176833"/>
              <a:gd name="connsiteY2" fmla="*/ 5228144 h 5455649"/>
              <a:gd name="connsiteX3" fmla="*/ 11226019 w 12176833"/>
              <a:gd name="connsiteY3" fmla="*/ 3216463 h 5455649"/>
              <a:gd name="connsiteX4" fmla="*/ 5852159 w 12176833"/>
              <a:gd name="connsiteY4" fmla="*/ 1584610 h 5455649"/>
              <a:gd name="connsiteX5" fmla="*/ 6485204 w 12176833"/>
              <a:gd name="connsiteY5" fmla="*/ 2527146 h 5455649"/>
              <a:gd name="connsiteX6" fmla="*/ 6639950 w 12176833"/>
              <a:gd name="connsiteY6" fmla="*/ 3033583 h 5455649"/>
              <a:gd name="connsiteX7" fmla="*/ 6330460 w 12176833"/>
              <a:gd name="connsiteY7" fmla="*/ 3188327 h 5455649"/>
              <a:gd name="connsiteX8" fmla="*/ 4389120 w 12176833"/>
              <a:gd name="connsiteY8" fmla="*/ 473263 h 5455649"/>
              <a:gd name="connsiteX9" fmla="*/ 4256842 w 12176833"/>
              <a:gd name="connsiteY9" fmla="*/ 532264 h 5455649"/>
              <a:gd name="connsiteX10" fmla="*/ 3956591 w 12176833"/>
              <a:gd name="connsiteY10" fmla="*/ 0 h 5455649"/>
              <a:gd name="connsiteX11" fmla="*/ 745588 w 12176833"/>
              <a:gd name="connsiteY11" fmla="*/ 2963245 h 5455649"/>
              <a:gd name="connsiteX12" fmla="*/ 0 w 12176833"/>
              <a:gd name="connsiteY12" fmla="*/ 3610359 h 5455649"/>
              <a:gd name="connsiteX0" fmla="*/ 0 w 12132181"/>
              <a:gd name="connsiteY0" fmla="*/ 3610359 h 5455649"/>
              <a:gd name="connsiteX1" fmla="*/ 1055078 w 12132181"/>
              <a:gd name="connsiteY1" fmla="*/ 5228143 h 5455649"/>
              <a:gd name="connsiteX2" fmla="*/ 11268221 w 12132181"/>
              <a:gd name="connsiteY2" fmla="*/ 5228144 h 5455649"/>
              <a:gd name="connsiteX3" fmla="*/ 11226019 w 12132181"/>
              <a:gd name="connsiteY3" fmla="*/ 3216463 h 5455649"/>
              <a:gd name="connsiteX4" fmla="*/ 8989254 w 12132181"/>
              <a:gd name="connsiteY4" fmla="*/ 1331392 h 5455649"/>
              <a:gd name="connsiteX5" fmla="*/ 5852159 w 12132181"/>
              <a:gd name="connsiteY5" fmla="*/ 1584610 h 5455649"/>
              <a:gd name="connsiteX6" fmla="*/ 6485204 w 12132181"/>
              <a:gd name="connsiteY6" fmla="*/ 2527146 h 5455649"/>
              <a:gd name="connsiteX7" fmla="*/ 6639950 w 12132181"/>
              <a:gd name="connsiteY7" fmla="*/ 3033583 h 5455649"/>
              <a:gd name="connsiteX8" fmla="*/ 6330460 w 12132181"/>
              <a:gd name="connsiteY8" fmla="*/ 3188327 h 5455649"/>
              <a:gd name="connsiteX9" fmla="*/ 4389120 w 12132181"/>
              <a:gd name="connsiteY9" fmla="*/ 473263 h 5455649"/>
              <a:gd name="connsiteX10" fmla="*/ 4256842 w 12132181"/>
              <a:gd name="connsiteY10" fmla="*/ 532264 h 5455649"/>
              <a:gd name="connsiteX11" fmla="*/ 3956591 w 12132181"/>
              <a:gd name="connsiteY11" fmla="*/ 0 h 5455649"/>
              <a:gd name="connsiteX12" fmla="*/ 745588 w 12132181"/>
              <a:gd name="connsiteY12" fmla="*/ 2963245 h 5455649"/>
              <a:gd name="connsiteX13" fmla="*/ 0 w 12132181"/>
              <a:gd name="connsiteY13" fmla="*/ 3610359 h 5455649"/>
              <a:gd name="connsiteX0" fmla="*/ 0 w 12132181"/>
              <a:gd name="connsiteY0" fmla="*/ 3610359 h 5455649"/>
              <a:gd name="connsiteX1" fmla="*/ 1055078 w 12132181"/>
              <a:gd name="connsiteY1" fmla="*/ 5228143 h 5455649"/>
              <a:gd name="connsiteX2" fmla="*/ 11268221 w 12132181"/>
              <a:gd name="connsiteY2" fmla="*/ 5228144 h 5455649"/>
              <a:gd name="connsiteX3" fmla="*/ 11226019 w 12132181"/>
              <a:gd name="connsiteY3" fmla="*/ 3216463 h 5455649"/>
              <a:gd name="connsiteX4" fmla="*/ 8989254 w 12132181"/>
              <a:gd name="connsiteY4" fmla="*/ 1331392 h 5455649"/>
              <a:gd name="connsiteX5" fmla="*/ 5838091 w 12132181"/>
              <a:gd name="connsiteY5" fmla="*/ 1556474 h 5455649"/>
              <a:gd name="connsiteX6" fmla="*/ 6485204 w 12132181"/>
              <a:gd name="connsiteY6" fmla="*/ 2527146 h 5455649"/>
              <a:gd name="connsiteX7" fmla="*/ 6639950 w 12132181"/>
              <a:gd name="connsiteY7" fmla="*/ 3033583 h 5455649"/>
              <a:gd name="connsiteX8" fmla="*/ 6330460 w 12132181"/>
              <a:gd name="connsiteY8" fmla="*/ 3188327 h 5455649"/>
              <a:gd name="connsiteX9" fmla="*/ 4389120 w 12132181"/>
              <a:gd name="connsiteY9" fmla="*/ 473263 h 5455649"/>
              <a:gd name="connsiteX10" fmla="*/ 4256842 w 12132181"/>
              <a:gd name="connsiteY10" fmla="*/ 532264 h 5455649"/>
              <a:gd name="connsiteX11" fmla="*/ 3956591 w 12132181"/>
              <a:gd name="connsiteY11" fmla="*/ 0 h 5455649"/>
              <a:gd name="connsiteX12" fmla="*/ 745588 w 12132181"/>
              <a:gd name="connsiteY12" fmla="*/ 2963245 h 5455649"/>
              <a:gd name="connsiteX13" fmla="*/ 0 w 12132181"/>
              <a:gd name="connsiteY13" fmla="*/ 3610359 h 5455649"/>
              <a:gd name="connsiteX0" fmla="*/ 0 w 12132181"/>
              <a:gd name="connsiteY0" fmla="*/ 3610359 h 5455649"/>
              <a:gd name="connsiteX1" fmla="*/ 1055078 w 12132181"/>
              <a:gd name="connsiteY1" fmla="*/ 5228143 h 5455649"/>
              <a:gd name="connsiteX2" fmla="*/ 11268221 w 12132181"/>
              <a:gd name="connsiteY2" fmla="*/ 5228144 h 5455649"/>
              <a:gd name="connsiteX3" fmla="*/ 11226019 w 12132181"/>
              <a:gd name="connsiteY3" fmla="*/ 3216463 h 5455649"/>
              <a:gd name="connsiteX4" fmla="*/ 9467555 w 12132181"/>
              <a:gd name="connsiteY4" fmla="*/ 1528340 h 5455649"/>
              <a:gd name="connsiteX5" fmla="*/ 5838091 w 12132181"/>
              <a:gd name="connsiteY5" fmla="*/ 1556474 h 5455649"/>
              <a:gd name="connsiteX6" fmla="*/ 6485204 w 12132181"/>
              <a:gd name="connsiteY6" fmla="*/ 2527146 h 5455649"/>
              <a:gd name="connsiteX7" fmla="*/ 6639950 w 12132181"/>
              <a:gd name="connsiteY7" fmla="*/ 3033583 h 5455649"/>
              <a:gd name="connsiteX8" fmla="*/ 6330460 w 12132181"/>
              <a:gd name="connsiteY8" fmla="*/ 3188327 h 5455649"/>
              <a:gd name="connsiteX9" fmla="*/ 4389120 w 12132181"/>
              <a:gd name="connsiteY9" fmla="*/ 473263 h 5455649"/>
              <a:gd name="connsiteX10" fmla="*/ 4256842 w 12132181"/>
              <a:gd name="connsiteY10" fmla="*/ 532264 h 5455649"/>
              <a:gd name="connsiteX11" fmla="*/ 3956591 w 12132181"/>
              <a:gd name="connsiteY11" fmla="*/ 0 h 5455649"/>
              <a:gd name="connsiteX12" fmla="*/ 745588 w 12132181"/>
              <a:gd name="connsiteY12" fmla="*/ 2963245 h 5455649"/>
              <a:gd name="connsiteX13" fmla="*/ 0 w 12132181"/>
              <a:gd name="connsiteY13" fmla="*/ 3610359 h 5455649"/>
              <a:gd name="connsiteX0" fmla="*/ 0 w 12132181"/>
              <a:gd name="connsiteY0" fmla="*/ 3610359 h 5455649"/>
              <a:gd name="connsiteX1" fmla="*/ 1055078 w 12132181"/>
              <a:gd name="connsiteY1" fmla="*/ 5228143 h 5455649"/>
              <a:gd name="connsiteX2" fmla="*/ 11268221 w 12132181"/>
              <a:gd name="connsiteY2" fmla="*/ 5228144 h 5455649"/>
              <a:gd name="connsiteX3" fmla="*/ 11226019 w 12132181"/>
              <a:gd name="connsiteY3" fmla="*/ 3216463 h 5455649"/>
              <a:gd name="connsiteX4" fmla="*/ 9467555 w 12132181"/>
              <a:gd name="connsiteY4" fmla="*/ 1528340 h 5455649"/>
              <a:gd name="connsiteX5" fmla="*/ 5838091 w 12132181"/>
              <a:gd name="connsiteY5" fmla="*/ 1556474 h 5455649"/>
              <a:gd name="connsiteX6" fmla="*/ 6485204 w 12132181"/>
              <a:gd name="connsiteY6" fmla="*/ 2527146 h 5455649"/>
              <a:gd name="connsiteX7" fmla="*/ 6639950 w 12132181"/>
              <a:gd name="connsiteY7" fmla="*/ 3033583 h 5455649"/>
              <a:gd name="connsiteX8" fmla="*/ 6330460 w 12132181"/>
              <a:gd name="connsiteY8" fmla="*/ 3188327 h 5455649"/>
              <a:gd name="connsiteX9" fmla="*/ 4389120 w 12132181"/>
              <a:gd name="connsiteY9" fmla="*/ 473263 h 5455649"/>
              <a:gd name="connsiteX10" fmla="*/ 4256842 w 12132181"/>
              <a:gd name="connsiteY10" fmla="*/ 532264 h 5455649"/>
              <a:gd name="connsiteX11" fmla="*/ 3956591 w 12132181"/>
              <a:gd name="connsiteY11" fmla="*/ 0 h 5455649"/>
              <a:gd name="connsiteX12" fmla="*/ 745588 w 12132181"/>
              <a:gd name="connsiteY12" fmla="*/ 2963245 h 5455649"/>
              <a:gd name="connsiteX13" fmla="*/ 0 w 12132181"/>
              <a:gd name="connsiteY13" fmla="*/ 3610359 h 5455649"/>
              <a:gd name="connsiteX0" fmla="*/ 0 w 12126642"/>
              <a:gd name="connsiteY0" fmla="*/ 3610359 h 5425995"/>
              <a:gd name="connsiteX1" fmla="*/ 1055078 w 12126642"/>
              <a:gd name="connsiteY1" fmla="*/ 5228143 h 5425995"/>
              <a:gd name="connsiteX2" fmla="*/ 11268221 w 12126642"/>
              <a:gd name="connsiteY2" fmla="*/ 5228144 h 5425995"/>
              <a:gd name="connsiteX3" fmla="*/ 11211951 w 12126642"/>
              <a:gd name="connsiteY3" fmla="*/ 3680697 h 5425995"/>
              <a:gd name="connsiteX4" fmla="*/ 9467555 w 12126642"/>
              <a:gd name="connsiteY4" fmla="*/ 1528340 h 5425995"/>
              <a:gd name="connsiteX5" fmla="*/ 5838091 w 12126642"/>
              <a:gd name="connsiteY5" fmla="*/ 1556474 h 5425995"/>
              <a:gd name="connsiteX6" fmla="*/ 6485204 w 12126642"/>
              <a:gd name="connsiteY6" fmla="*/ 2527146 h 5425995"/>
              <a:gd name="connsiteX7" fmla="*/ 6639950 w 12126642"/>
              <a:gd name="connsiteY7" fmla="*/ 3033583 h 5425995"/>
              <a:gd name="connsiteX8" fmla="*/ 6330460 w 12126642"/>
              <a:gd name="connsiteY8" fmla="*/ 3188327 h 5425995"/>
              <a:gd name="connsiteX9" fmla="*/ 4389120 w 12126642"/>
              <a:gd name="connsiteY9" fmla="*/ 473263 h 5425995"/>
              <a:gd name="connsiteX10" fmla="*/ 4256842 w 12126642"/>
              <a:gd name="connsiteY10" fmla="*/ 532264 h 5425995"/>
              <a:gd name="connsiteX11" fmla="*/ 3956591 w 12126642"/>
              <a:gd name="connsiteY11" fmla="*/ 0 h 5425995"/>
              <a:gd name="connsiteX12" fmla="*/ 745588 w 12126642"/>
              <a:gd name="connsiteY12" fmla="*/ 2963245 h 5425995"/>
              <a:gd name="connsiteX13" fmla="*/ 0 w 12126642"/>
              <a:gd name="connsiteY13" fmla="*/ 3610359 h 5425995"/>
              <a:gd name="connsiteX0" fmla="*/ 0 w 11268221"/>
              <a:gd name="connsiteY0" fmla="*/ 3610359 h 5425995"/>
              <a:gd name="connsiteX1" fmla="*/ 1055078 w 11268221"/>
              <a:gd name="connsiteY1" fmla="*/ 5228143 h 5425995"/>
              <a:gd name="connsiteX2" fmla="*/ 11268221 w 11268221"/>
              <a:gd name="connsiteY2" fmla="*/ 5228144 h 5425995"/>
              <a:gd name="connsiteX3" fmla="*/ 11211951 w 11268221"/>
              <a:gd name="connsiteY3" fmla="*/ 3680697 h 5425995"/>
              <a:gd name="connsiteX4" fmla="*/ 9467555 w 11268221"/>
              <a:gd name="connsiteY4" fmla="*/ 1528340 h 5425995"/>
              <a:gd name="connsiteX5" fmla="*/ 5838091 w 11268221"/>
              <a:gd name="connsiteY5" fmla="*/ 1556474 h 5425995"/>
              <a:gd name="connsiteX6" fmla="*/ 6485204 w 11268221"/>
              <a:gd name="connsiteY6" fmla="*/ 2527146 h 5425995"/>
              <a:gd name="connsiteX7" fmla="*/ 6639950 w 11268221"/>
              <a:gd name="connsiteY7" fmla="*/ 3033583 h 5425995"/>
              <a:gd name="connsiteX8" fmla="*/ 6330460 w 11268221"/>
              <a:gd name="connsiteY8" fmla="*/ 3188327 h 5425995"/>
              <a:gd name="connsiteX9" fmla="*/ 4389120 w 11268221"/>
              <a:gd name="connsiteY9" fmla="*/ 473263 h 5425995"/>
              <a:gd name="connsiteX10" fmla="*/ 4256842 w 11268221"/>
              <a:gd name="connsiteY10" fmla="*/ 532264 h 5425995"/>
              <a:gd name="connsiteX11" fmla="*/ 3956591 w 11268221"/>
              <a:gd name="connsiteY11" fmla="*/ 0 h 5425995"/>
              <a:gd name="connsiteX12" fmla="*/ 745588 w 11268221"/>
              <a:gd name="connsiteY12" fmla="*/ 2963245 h 5425995"/>
              <a:gd name="connsiteX13" fmla="*/ 0 w 11268221"/>
              <a:gd name="connsiteY13" fmla="*/ 3610359 h 5425995"/>
              <a:gd name="connsiteX0" fmla="*/ 0 w 12013895"/>
              <a:gd name="connsiteY0" fmla="*/ 3610359 h 5426865"/>
              <a:gd name="connsiteX1" fmla="*/ 1055078 w 12013895"/>
              <a:gd name="connsiteY1" fmla="*/ 5228143 h 5426865"/>
              <a:gd name="connsiteX2" fmla="*/ 11268221 w 12013895"/>
              <a:gd name="connsiteY2" fmla="*/ 5228144 h 5426865"/>
              <a:gd name="connsiteX3" fmla="*/ 11226019 w 12013895"/>
              <a:gd name="connsiteY3" fmla="*/ 3666630 h 5426865"/>
              <a:gd name="connsiteX4" fmla="*/ 9467555 w 12013895"/>
              <a:gd name="connsiteY4" fmla="*/ 1528340 h 5426865"/>
              <a:gd name="connsiteX5" fmla="*/ 5838091 w 12013895"/>
              <a:gd name="connsiteY5" fmla="*/ 1556474 h 5426865"/>
              <a:gd name="connsiteX6" fmla="*/ 6485204 w 12013895"/>
              <a:gd name="connsiteY6" fmla="*/ 2527146 h 5426865"/>
              <a:gd name="connsiteX7" fmla="*/ 6639950 w 12013895"/>
              <a:gd name="connsiteY7" fmla="*/ 3033583 h 5426865"/>
              <a:gd name="connsiteX8" fmla="*/ 6330460 w 12013895"/>
              <a:gd name="connsiteY8" fmla="*/ 3188327 h 5426865"/>
              <a:gd name="connsiteX9" fmla="*/ 4389120 w 12013895"/>
              <a:gd name="connsiteY9" fmla="*/ 473263 h 5426865"/>
              <a:gd name="connsiteX10" fmla="*/ 4256842 w 12013895"/>
              <a:gd name="connsiteY10" fmla="*/ 532264 h 5426865"/>
              <a:gd name="connsiteX11" fmla="*/ 3956591 w 12013895"/>
              <a:gd name="connsiteY11" fmla="*/ 0 h 5426865"/>
              <a:gd name="connsiteX12" fmla="*/ 745588 w 12013895"/>
              <a:gd name="connsiteY12" fmla="*/ 2963245 h 5426865"/>
              <a:gd name="connsiteX13" fmla="*/ 0 w 12013895"/>
              <a:gd name="connsiteY13" fmla="*/ 3610359 h 5426865"/>
              <a:gd name="connsiteX0" fmla="*/ 0 w 11268221"/>
              <a:gd name="connsiteY0" fmla="*/ 3610359 h 5426865"/>
              <a:gd name="connsiteX1" fmla="*/ 1055078 w 11268221"/>
              <a:gd name="connsiteY1" fmla="*/ 5228143 h 5426865"/>
              <a:gd name="connsiteX2" fmla="*/ 11268221 w 11268221"/>
              <a:gd name="connsiteY2" fmla="*/ 5228144 h 5426865"/>
              <a:gd name="connsiteX3" fmla="*/ 11226019 w 11268221"/>
              <a:gd name="connsiteY3" fmla="*/ 3666630 h 5426865"/>
              <a:gd name="connsiteX4" fmla="*/ 9467555 w 11268221"/>
              <a:gd name="connsiteY4" fmla="*/ 1528340 h 5426865"/>
              <a:gd name="connsiteX5" fmla="*/ 5838091 w 11268221"/>
              <a:gd name="connsiteY5" fmla="*/ 1556474 h 5426865"/>
              <a:gd name="connsiteX6" fmla="*/ 6485204 w 11268221"/>
              <a:gd name="connsiteY6" fmla="*/ 2527146 h 5426865"/>
              <a:gd name="connsiteX7" fmla="*/ 6639950 w 11268221"/>
              <a:gd name="connsiteY7" fmla="*/ 3033583 h 5426865"/>
              <a:gd name="connsiteX8" fmla="*/ 6330460 w 11268221"/>
              <a:gd name="connsiteY8" fmla="*/ 3188327 h 5426865"/>
              <a:gd name="connsiteX9" fmla="*/ 4389120 w 11268221"/>
              <a:gd name="connsiteY9" fmla="*/ 473263 h 5426865"/>
              <a:gd name="connsiteX10" fmla="*/ 4256842 w 11268221"/>
              <a:gd name="connsiteY10" fmla="*/ 532264 h 5426865"/>
              <a:gd name="connsiteX11" fmla="*/ 3956591 w 11268221"/>
              <a:gd name="connsiteY11" fmla="*/ 0 h 5426865"/>
              <a:gd name="connsiteX12" fmla="*/ 745588 w 11268221"/>
              <a:gd name="connsiteY12" fmla="*/ 2963245 h 5426865"/>
              <a:gd name="connsiteX13" fmla="*/ 0 w 11268221"/>
              <a:gd name="connsiteY13" fmla="*/ 3610359 h 5426865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467555 w 11268221"/>
              <a:gd name="connsiteY4" fmla="*/ 1528340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639950 w 11268221"/>
              <a:gd name="connsiteY7" fmla="*/ 3033583 h 5228144"/>
              <a:gd name="connsiteX8" fmla="*/ 6330460 w 11268221"/>
              <a:gd name="connsiteY8" fmla="*/ 3188327 h 5228144"/>
              <a:gd name="connsiteX9" fmla="*/ 4389120 w 11268221"/>
              <a:gd name="connsiteY9" fmla="*/ 473263 h 5228144"/>
              <a:gd name="connsiteX10" fmla="*/ 4256842 w 11268221"/>
              <a:gd name="connsiteY10" fmla="*/ 532264 h 5228144"/>
              <a:gd name="connsiteX11" fmla="*/ 3956591 w 11268221"/>
              <a:gd name="connsiteY11" fmla="*/ 0 h 5228144"/>
              <a:gd name="connsiteX12" fmla="*/ 745588 w 11268221"/>
              <a:gd name="connsiteY12" fmla="*/ 2963245 h 5228144"/>
              <a:gd name="connsiteX13" fmla="*/ 0 w 11268221"/>
              <a:gd name="connsiteY13" fmla="*/ 3610359 h 5228144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532869 w 11268221"/>
              <a:gd name="connsiteY4" fmla="*/ 1546153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639950 w 11268221"/>
              <a:gd name="connsiteY7" fmla="*/ 3033583 h 5228144"/>
              <a:gd name="connsiteX8" fmla="*/ 6330460 w 11268221"/>
              <a:gd name="connsiteY8" fmla="*/ 3188327 h 5228144"/>
              <a:gd name="connsiteX9" fmla="*/ 4389120 w 11268221"/>
              <a:gd name="connsiteY9" fmla="*/ 473263 h 5228144"/>
              <a:gd name="connsiteX10" fmla="*/ 4256842 w 11268221"/>
              <a:gd name="connsiteY10" fmla="*/ 532264 h 5228144"/>
              <a:gd name="connsiteX11" fmla="*/ 3956591 w 11268221"/>
              <a:gd name="connsiteY11" fmla="*/ 0 h 5228144"/>
              <a:gd name="connsiteX12" fmla="*/ 745588 w 11268221"/>
              <a:gd name="connsiteY12" fmla="*/ 2963245 h 5228144"/>
              <a:gd name="connsiteX13" fmla="*/ 0 w 11268221"/>
              <a:gd name="connsiteY13" fmla="*/ 3610359 h 5228144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556620 w 11268221"/>
              <a:gd name="connsiteY4" fmla="*/ 1540216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639950 w 11268221"/>
              <a:gd name="connsiteY7" fmla="*/ 3033583 h 5228144"/>
              <a:gd name="connsiteX8" fmla="*/ 6330460 w 11268221"/>
              <a:gd name="connsiteY8" fmla="*/ 3188327 h 5228144"/>
              <a:gd name="connsiteX9" fmla="*/ 4389120 w 11268221"/>
              <a:gd name="connsiteY9" fmla="*/ 473263 h 5228144"/>
              <a:gd name="connsiteX10" fmla="*/ 4256842 w 11268221"/>
              <a:gd name="connsiteY10" fmla="*/ 532264 h 5228144"/>
              <a:gd name="connsiteX11" fmla="*/ 3956591 w 11268221"/>
              <a:gd name="connsiteY11" fmla="*/ 0 h 5228144"/>
              <a:gd name="connsiteX12" fmla="*/ 745588 w 11268221"/>
              <a:gd name="connsiteY12" fmla="*/ 2963245 h 5228144"/>
              <a:gd name="connsiteX13" fmla="*/ 0 w 11268221"/>
              <a:gd name="connsiteY13" fmla="*/ 3610359 h 5228144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556620 w 11268221"/>
              <a:gd name="connsiteY4" fmla="*/ 1540216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384631 w 11268221"/>
              <a:gd name="connsiteY7" fmla="*/ 2861391 h 5228144"/>
              <a:gd name="connsiteX8" fmla="*/ 6330460 w 11268221"/>
              <a:gd name="connsiteY8" fmla="*/ 3188327 h 5228144"/>
              <a:gd name="connsiteX9" fmla="*/ 4389120 w 11268221"/>
              <a:gd name="connsiteY9" fmla="*/ 473263 h 5228144"/>
              <a:gd name="connsiteX10" fmla="*/ 4256842 w 11268221"/>
              <a:gd name="connsiteY10" fmla="*/ 532264 h 5228144"/>
              <a:gd name="connsiteX11" fmla="*/ 3956591 w 11268221"/>
              <a:gd name="connsiteY11" fmla="*/ 0 h 5228144"/>
              <a:gd name="connsiteX12" fmla="*/ 745588 w 11268221"/>
              <a:gd name="connsiteY12" fmla="*/ 2963245 h 5228144"/>
              <a:gd name="connsiteX13" fmla="*/ 0 w 11268221"/>
              <a:gd name="connsiteY13" fmla="*/ 3610359 h 5228144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556620 w 11268221"/>
              <a:gd name="connsiteY4" fmla="*/ 1540216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384631 w 11268221"/>
              <a:gd name="connsiteY7" fmla="*/ 2861391 h 5228144"/>
              <a:gd name="connsiteX8" fmla="*/ 6578291 w 11268221"/>
              <a:gd name="connsiteY8" fmla="*/ 3180106 h 5228144"/>
              <a:gd name="connsiteX9" fmla="*/ 6330460 w 11268221"/>
              <a:gd name="connsiteY9" fmla="*/ 3188327 h 5228144"/>
              <a:gd name="connsiteX10" fmla="*/ 4389120 w 11268221"/>
              <a:gd name="connsiteY10" fmla="*/ 473263 h 5228144"/>
              <a:gd name="connsiteX11" fmla="*/ 4256842 w 11268221"/>
              <a:gd name="connsiteY11" fmla="*/ 532264 h 5228144"/>
              <a:gd name="connsiteX12" fmla="*/ 3956591 w 11268221"/>
              <a:gd name="connsiteY12" fmla="*/ 0 h 5228144"/>
              <a:gd name="connsiteX13" fmla="*/ 745588 w 11268221"/>
              <a:gd name="connsiteY13" fmla="*/ 2963245 h 5228144"/>
              <a:gd name="connsiteX14" fmla="*/ 0 w 11268221"/>
              <a:gd name="connsiteY14" fmla="*/ 3610359 h 5228144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556620 w 11268221"/>
              <a:gd name="connsiteY4" fmla="*/ 1540216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384631 w 11268221"/>
              <a:gd name="connsiteY7" fmla="*/ 2861391 h 5228144"/>
              <a:gd name="connsiteX8" fmla="*/ 6578291 w 11268221"/>
              <a:gd name="connsiteY8" fmla="*/ 3180106 h 5228144"/>
              <a:gd name="connsiteX9" fmla="*/ 6330460 w 11268221"/>
              <a:gd name="connsiteY9" fmla="*/ 3188327 h 5228144"/>
              <a:gd name="connsiteX10" fmla="*/ 4389120 w 11268221"/>
              <a:gd name="connsiteY10" fmla="*/ 473263 h 5228144"/>
              <a:gd name="connsiteX11" fmla="*/ 4256842 w 11268221"/>
              <a:gd name="connsiteY11" fmla="*/ 532264 h 5228144"/>
              <a:gd name="connsiteX12" fmla="*/ 3956591 w 11268221"/>
              <a:gd name="connsiteY12" fmla="*/ 0 h 5228144"/>
              <a:gd name="connsiteX13" fmla="*/ 745588 w 11268221"/>
              <a:gd name="connsiteY13" fmla="*/ 2963245 h 5228144"/>
              <a:gd name="connsiteX14" fmla="*/ 0 w 11268221"/>
              <a:gd name="connsiteY14" fmla="*/ 3610359 h 5228144"/>
              <a:gd name="connsiteX0" fmla="*/ 0 w 11268221"/>
              <a:gd name="connsiteY0" fmla="*/ 3610359 h 5228144"/>
              <a:gd name="connsiteX1" fmla="*/ 1055078 w 11268221"/>
              <a:gd name="connsiteY1" fmla="*/ 5228143 h 5228144"/>
              <a:gd name="connsiteX2" fmla="*/ 11268221 w 11268221"/>
              <a:gd name="connsiteY2" fmla="*/ 5228144 h 5228144"/>
              <a:gd name="connsiteX3" fmla="*/ 11226019 w 11268221"/>
              <a:gd name="connsiteY3" fmla="*/ 3666630 h 5228144"/>
              <a:gd name="connsiteX4" fmla="*/ 9556620 w 11268221"/>
              <a:gd name="connsiteY4" fmla="*/ 1540216 h 5228144"/>
              <a:gd name="connsiteX5" fmla="*/ 5838091 w 11268221"/>
              <a:gd name="connsiteY5" fmla="*/ 1556474 h 5228144"/>
              <a:gd name="connsiteX6" fmla="*/ 6485204 w 11268221"/>
              <a:gd name="connsiteY6" fmla="*/ 2527146 h 5228144"/>
              <a:gd name="connsiteX7" fmla="*/ 6366818 w 11268221"/>
              <a:gd name="connsiteY7" fmla="*/ 2879204 h 5228144"/>
              <a:gd name="connsiteX8" fmla="*/ 6578291 w 11268221"/>
              <a:gd name="connsiteY8" fmla="*/ 3180106 h 5228144"/>
              <a:gd name="connsiteX9" fmla="*/ 6330460 w 11268221"/>
              <a:gd name="connsiteY9" fmla="*/ 3188327 h 5228144"/>
              <a:gd name="connsiteX10" fmla="*/ 4389120 w 11268221"/>
              <a:gd name="connsiteY10" fmla="*/ 473263 h 5228144"/>
              <a:gd name="connsiteX11" fmla="*/ 4256842 w 11268221"/>
              <a:gd name="connsiteY11" fmla="*/ 532264 h 5228144"/>
              <a:gd name="connsiteX12" fmla="*/ 3956591 w 11268221"/>
              <a:gd name="connsiteY12" fmla="*/ 0 h 5228144"/>
              <a:gd name="connsiteX13" fmla="*/ 745588 w 11268221"/>
              <a:gd name="connsiteY13" fmla="*/ 2963245 h 5228144"/>
              <a:gd name="connsiteX14" fmla="*/ 0 w 11268221"/>
              <a:gd name="connsiteY14" fmla="*/ 3610359 h 5228144"/>
              <a:gd name="connsiteX0" fmla="*/ 1389 w 11269610"/>
              <a:gd name="connsiteY0" fmla="*/ 3610359 h 5228144"/>
              <a:gd name="connsiteX1" fmla="*/ 1056467 w 11269610"/>
              <a:gd name="connsiteY1" fmla="*/ 5228143 h 5228144"/>
              <a:gd name="connsiteX2" fmla="*/ 11269610 w 11269610"/>
              <a:gd name="connsiteY2" fmla="*/ 5228144 h 5228144"/>
              <a:gd name="connsiteX3" fmla="*/ 11227408 w 11269610"/>
              <a:gd name="connsiteY3" fmla="*/ 3666630 h 5228144"/>
              <a:gd name="connsiteX4" fmla="*/ 9558009 w 11269610"/>
              <a:gd name="connsiteY4" fmla="*/ 1540216 h 5228144"/>
              <a:gd name="connsiteX5" fmla="*/ 5839480 w 11269610"/>
              <a:gd name="connsiteY5" fmla="*/ 1556474 h 5228144"/>
              <a:gd name="connsiteX6" fmla="*/ 6486593 w 11269610"/>
              <a:gd name="connsiteY6" fmla="*/ 2527146 h 5228144"/>
              <a:gd name="connsiteX7" fmla="*/ 6368207 w 11269610"/>
              <a:gd name="connsiteY7" fmla="*/ 2879204 h 5228144"/>
              <a:gd name="connsiteX8" fmla="*/ 6579680 w 11269610"/>
              <a:gd name="connsiteY8" fmla="*/ 3180106 h 5228144"/>
              <a:gd name="connsiteX9" fmla="*/ 6331849 w 11269610"/>
              <a:gd name="connsiteY9" fmla="*/ 3188327 h 5228144"/>
              <a:gd name="connsiteX10" fmla="*/ 4390509 w 11269610"/>
              <a:gd name="connsiteY10" fmla="*/ 473263 h 5228144"/>
              <a:gd name="connsiteX11" fmla="*/ 4258231 w 11269610"/>
              <a:gd name="connsiteY11" fmla="*/ 532264 h 5228144"/>
              <a:gd name="connsiteX12" fmla="*/ 3957980 w 11269610"/>
              <a:gd name="connsiteY12" fmla="*/ 0 h 5228144"/>
              <a:gd name="connsiteX13" fmla="*/ 1283005 w 11269610"/>
              <a:gd name="connsiteY13" fmla="*/ 2506045 h 5228144"/>
              <a:gd name="connsiteX14" fmla="*/ 1389 w 11269610"/>
              <a:gd name="connsiteY14" fmla="*/ 3610359 h 5228144"/>
              <a:gd name="connsiteX0" fmla="*/ 492712 w 11146078"/>
              <a:gd name="connsiteY0" fmla="*/ 3547297 h 5352650"/>
              <a:gd name="connsiteX1" fmla="*/ 932935 w 11146078"/>
              <a:gd name="connsiteY1" fmla="*/ 5228143 h 5352650"/>
              <a:gd name="connsiteX2" fmla="*/ 11146078 w 11146078"/>
              <a:gd name="connsiteY2" fmla="*/ 5228144 h 5352650"/>
              <a:gd name="connsiteX3" fmla="*/ 11103876 w 11146078"/>
              <a:gd name="connsiteY3" fmla="*/ 3666630 h 5352650"/>
              <a:gd name="connsiteX4" fmla="*/ 9434477 w 11146078"/>
              <a:gd name="connsiteY4" fmla="*/ 1540216 h 5352650"/>
              <a:gd name="connsiteX5" fmla="*/ 5715948 w 11146078"/>
              <a:gd name="connsiteY5" fmla="*/ 1556474 h 5352650"/>
              <a:gd name="connsiteX6" fmla="*/ 6363061 w 11146078"/>
              <a:gd name="connsiteY6" fmla="*/ 2527146 h 5352650"/>
              <a:gd name="connsiteX7" fmla="*/ 6244675 w 11146078"/>
              <a:gd name="connsiteY7" fmla="*/ 2879204 h 5352650"/>
              <a:gd name="connsiteX8" fmla="*/ 6456148 w 11146078"/>
              <a:gd name="connsiteY8" fmla="*/ 3180106 h 5352650"/>
              <a:gd name="connsiteX9" fmla="*/ 6208317 w 11146078"/>
              <a:gd name="connsiteY9" fmla="*/ 3188327 h 5352650"/>
              <a:gd name="connsiteX10" fmla="*/ 4266977 w 11146078"/>
              <a:gd name="connsiteY10" fmla="*/ 473263 h 5352650"/>
              <a:gd name="connsiteX11" fmla="*/ 4134699 w 11146078"/>
              <a:gd name="connsiteY11" fmla="*/ 532264 h 5352650"/>
              <a:gd name="connsiteX12" fmla="*/ 3834448 w 11146078"/>
              <a:gd name="connsiteY12" fmla="*/ 0 h 5352650"/>
              <a:gd name="connsiteX13" fmla="*/ 1159473 w 11146078"/>
              <a:gd name="connsiteY13" fmla="*/ 2506045 h 5352650"/>
              <a:gd name="connsiteX14" fmla="*/ 492712 w 11146078"/>
              <a:gd name="connsiteY14" fmla="*/ 3547297 h 5352650"/>
              <a:gd name="connsiteX0" fmla="*/ 102631 w 11453796"/>
              <a:gd name="connsiteY0" fmla="*/ 3547297 h 5404972"/>
              <a:gd name="connsiteX1" fmla="*/ 1189240 w 11453796"/>
              <a:gd name="connsiteY1" fmla="*/ 5180846 h 5404972"/>
              <a:gd name="connsiteX2" fmla="*/ 10755997 w 11453796"/>
              <a:gd name="connsiteY2" fmla="*/ 5228144 h 5404972"/>
              <a:gd name="connsiteX3" fmla="*/ 10713795 w 11453796"/>
              <a:gd name="connsiteY3" fmla="*/ 3666630 h 5404972"/>
              <a:gd name="connsiteX4" fmla="*/ 9044396 w 11453796"/>
              <a:gd name="connsiteY4" fmla="*/ 1540216 h 5404972"/>
              <a:gd name="connsiteX5" fmla="*/ 5325867 w 11453796"/>
              <a:gd name="connsiteY5" fmla="*/ 1556474 h 5404972"/>
              <a:gd name="connsiteX6" fmla="*/ 5972980 w 11453796"/>
              <a:gd name="connsiteY6" fmla="*/ 2527146 h 5404972"/>
              <a:gd name="connsiteX7" fmla="*/ 5854594 w 11453796"/>
              <a:gd name="connsiteY7" fmla="*/ 2879204 h 5404972"/>
              <a:gd name="connsiteX8" fmla="*/ 6066067 w 11453796"/>
              <a:gd name="connsiteY8" fmla="*/ 3180106 h 5404972"/>
              <a:gd name="connsiteX9" fmla="*/ 5818236 w 11453796"/>
              <a:gd name="connsiteY9" fmla="*/ 3188327 h 5404972"/>
              <a:gd name="connsiteX10" fmla="*/ 3876896 w 11453796"/>
              <a:gd name="connsiteY10" fmla="*/ 473263 h 5404972"/>
              <a:gd name="connsiteX11" fmla="*/ 3744618 w 11453796"/>
              <a:gd name="connsiteY11" fmla="*/ 532264 h 5404972"/>
              <a:gd name="connsiteX12" fmla="*/ 3444367 w 11453796"/>
              <a:gd name="connsiteY12" fmla="*/ 0 h 5404972"/>
              <a:gd name="connsiteX13" fmla="*/ 769392 w 11453796"/>
              <a:gd name="connsiteY13" fmla="*/ 2506045 h 5404972"/>
              <a:gd name="connsiteX14" fmla="*/ 102631 w 11453796"/>
              <a:gd name="connsiteY14" fmla="*/ 3547297 h 5404972"/>
              <a:gd name="connsiteX0" fmla="*/ 14372 w 11365537"/>
              <a:gd name="connsiteY0" fmla="*/ 3547297 h 5404972"/>
              <a:gd name="connsiteX1" fmla="*/ 1100981 w 11365537"/>
              <a:gd name="connsiteY1" fmla="*/ 5180846 h 5404972"/>
              <a:gd name="connsiteX2" fmla="*/ 10667738 w 11365537"/>
              <a:gd name="connsiteY2" fmla="*/ 5228144 h 5404972"/>
              <a:gd name="connsiteX3" fmla="*/ 10625536 w 11365537"/>
              <a:gd name="connsiteY3" fmla="*/ 3666630 h 5404972"/>
              <a:gd name="connsiteX4" fmla="*/ 8956137 w 11365537"/>
              <a:gd name="connsiteY4" fmla="*/ 1540216 h 5404972"/>
              <a:gd name="connsiteX5" fmla="*/ 5237608 w 11365537"/>
              <a:gd name="connsiteY5" fmla="*/ 1556474 h 5404972"/>
              <a:gd name="connsiteX6" fmla="*/ 5884721 w 11365537"/>
              <a:gd name="connsiteY6" fmla="*/ 2527146 h 5404972"/>
              <a:gd name="connsiteX7" fmla="*/ 5766335 w 11365537"/>
              <a:gd name="connsiteY7" fmla="*/ 2879204 h 5404972"/>
              <a:gd name="connsiteX8" fmla="*/ 5977808 w 11365537"/>
              <a:gd name="connsiteY8" fmla="*/ 3180106 h 5404972"/>
              <a:gd name="connsiteX9" fmla="*/ 5729977 w 11365537"/>
              <a:gd name="connsiteY9" fmla="*/ 3188327 h 5404972"/>
              <a:gd name="connsiteX10" fmla="*/ 3788637 w 11365537"/>
              <a:gd name="connsiteY10" fmla="*/ 473263 h 5404972"/>
              <a:gd name="connsiteX11" fmla="*/ 3656359 w 11365537"/>
              <a:gd name="connsiteY11" fmla="*/ 532264 h 5404972"/>
              <a:gd name="connsiteX12" fmla="*/ 3356108 w 11365537"/>
              <a:gd name="connsiteY12" fmla="*/ 0 h 5404972"/>
              <a:gd name="connsiteX13" fmla="*/ 681133 w 11365537"/>
              <a:gd name="connsiteY13" fmla="*/ 2506045 h 5404972"/>
              <a:gd name="connsiteX14" fmla="*/ 14372 w 11365537"/>
              <a:gd name="connsiteY14" fmla="*/ 3547297 h 5404972"/>
              <a:gd name="connsiteX0" fmla="*/ 14372 w 11365537"/>
              <a:gd name="connsiteY0" fmla="*/ 3547297 h 5228144"/>
              <a:gd name="connsiteX1" fmla="*/ 1100981 w 11365537"/>
              <a:gd name="connsiteY1" fmla="*/ 5180846 h 5228144"/>
              <a:gd name="connsiteX2" fmla="*/ 10667738 w 11365537"/>
              <a:gd name="connsiteY2" fmla="*/ 5228144 h 5228144"/>
              <a:gd name="connsiteX3" fmla="*/ 10625536 w 11365537"/>
              <a:gd name="connsiteY3" fmla="*/ 3666630 h 5228144"/>
              <a:gd name="connsiteX4" fmla="*/ 8956137 w 11365537"/>
              <a:gd name="connsiteY4" fmla="*/ 1540216 h 5228144"/>
              <a:gd name="connsiteX5" fmla="*/ 5237608 w 11365537"/>
              <a:gd name="connsiteY5" fmla="*/ 1556474 h 5228144"/>
              <a:gd name="connsiteX6" fmla="*/ 5884721 w 11365537"/>
              <a:gd name="connsiteY6" fmla="*/ 2527146 h 5228144"/>
              <a:gd name="connsiteX7" fmla="*/ 5766335 w 11365537"/>
              <a:gd name="connsiteY7" fmla="*/ 2879204 h 5228144"/>
              <a:gd name="connsiteX8" fmla="*/ 5977808 w 11365537"/>
              <a:gd name="connsiteY8" fmla="*/ 3180106 h 5228144"/>
              <a:gd name="connsiteX9" fmla="*/ 5729977 w 11365537"/>
              <a:gd name="connsiteY9" fmla="*/ 3188327 h 5228144"/>
              <a:gd name="connsiteX10" fmla="*/ 3788637 w 11365537"/>
              <a:gd name="connsiteY10" fmla="*/ 473263 h 5228144"/>
              <a:gd name="connsiteX11" fmla="*/ 3656359 w 11365537"/>
              <a:gd name="connsiteY11" fmla="*/ 532264 h 5228144"/>
              <a:gd name="connsiteX12" fmla="*/ 3356108 w 11365537"/>
              <a:gd name="connsiteY12" fmla="*/ 0 h 5228144"/>
              <a:gd name="connsiteX13" fmla="*/ 681133 w 11365537"/>
              <a:gd name="connsiteY13" fmla="*/ 2506045 h 5228144"/>
              <a:gd name="connsiteX14" fmla="*/ 14372 w 11365537"/>
              <a:gd name="connsiteY14" fmla="*/ 3547297 h 5228144"/>
              <a:gd name="connsiteX0" fmla="*/ 14372 w 10667738"/>
              <a:gd name="connsiteY0" fmla="*/ 3547297 h 5228144"/>
              <a:gd name="connsiteX1" fmla="*/ 1100981 w 10667738"/>
              <a:gd name="connsiteY1" fmla="*/ 5180846 h 5228144"/>
              <a:gd name="connsiteX2" fmla="*/ 10667738 w 10667738"/>
              <a:gd name="connsiteY2" fmla="*/ 5228144 h 5228144"/>
              <a:gd name="connsiteX3" fmla="*/ 10625536 w 10667738"/>
              <a:gd name="connsiteY3" fmla="*/ 3666630 h 5228144"/>
              <a:gd name="connsiteX4" fmla="*/ 8956137 w 10667738"/>
              <a:gd name="connsiteY4" fmla="*/ 1540216 h 5228144"/>
              <a:gd name="connsiteX5" fmla="*/ 5237608 w 10667738"/>
              <a:gd name="connsiteY5" fmla="*/ 1556474 h 5228144"/>
              <a:gd name="connsiteX6" fmla="*/ 5884721 w 10667738"/>
              <a:gd name="connsiteY6" fmla="*/ 2527146 h 5228144"/>
              <a:gd name="connsiteX7" fmla="*/ 5766335 w 10667738"/>
              <a:gd name="connsiteY7" fmla="*/ 2879204 h 5228144"/>
              <a:gd name="connsiteX8" fmla="*/ 5977808 w 10667738"/>
              <a:gd name="connsiteY8" fmla="*/ 3180106 h 5228144"/>
              <a:gd name="connsiteX9" fmla="*/ 5729977 w 10667738"/>
              <a:gd name="connsiteY9" fmla="*/ 3188327 h 5228144"/>
              <a:gd name="connsiteX10" fmla="*/ 3788637 w 10667738"/>
              <a:gd name="connsiteY10" fmla="*/ 473263 h 5228144"/>
              <a:gd name="connsiteX11" fmla="*/ 3656359 w 10667738"/>
              <a:gd name="connsiteY11" fmla="*/ 532264 h 5228144"/>
              <a:gd name="connsiteX12" fmla="*/ 3356108 w 10667738"/>
              <a:gd name="connsiteY12" fmla="*/ 0 h 5228144"/>
              <a:gd name="connsiteX13" fmla="*/ 681133 w 10667738"/>
              <a:gd name="connsiteY13" fmla="*/ 2506045 h 5228144"/>
              <a:gd name="connsiteX14" fmla="*/ 14372 w 10667738"/>
              <a:gd name="connsiteY14" fmla="*/ 3547297 h 5228144"/>
              <a:gd name="connsiteX0" fmla="*/ 0 w 10653366"/>
              <a:gd name="connsiteY0" fmla="*/ 3547297 h 5228144"/>
              <a:gd name="connsiteX1" fmla="*/ 1086609 w 10653366"/>
              <a:gd name="connsiteY1" fmla="*/ 5180846 h 5228144"/>
              <a:gd name="connsiteX2" fmla="*/ 10653366 w 10653366"/>
              <a:gd name="connsiteY2" fmla="*/ 5228144 h 5228144"/>
              <a:gd name="connsiteX3" fmla="*/ 10611164 w 10653366"/>
              <a:gd name="connsiteY3" fmla="*/ 3666630 h 5228144"/>
              <a:gd name="connsiteX4" fmla="*/ 8941765 w 10653366"/>
              <a:gd name="connsiteY4" fmla="*/ 1540216 h 5228144"/>
              <a:gd name="connsiteX5" fmla="*/ 5223236 w 10653366"/>
              <a:gd name="connsiteY5" fmla="*/ 1556474 h 5228144"/>
              <a:gd name="connsiteX6" fmla="*/ 5870349 w 10653366"/>
              <a:gd name="connsiteY6" fmla="*/ 2527146 h 5228144"/>
              <a:gd name="connsiteX7" fmla="*/ 5751963 w 10653366"/>
              <a:gd name="connsiteY7" fmla="*/ 2879204 h 5228144"/>
              <a:gd name="connsiteX8" fmla="*/ 5963436 w 10653366"/>
              <a:gd name="connsiteY8" fmla="*/ 3180106 h 5228144"/>
              <a:gd name="connsiteX9" fmla="*/ 5715605 w 10653366"/>
              <a:gd name="connsiteY9" fmla="*/ 3188327 h 5228144"/>
              <a:gd name="connsiteX10" fmla="*/ 3774265 w 10653366"/>
              <a:gd name="connsiteY10" fmla="*/ 473263 h 5228144"/>
              <a:gd name="connsiteX11" fmla="*/ 3641987 w 10653366"/>
              <a:gd name="connsiteY11" fmla="*/ 532264 h 5228144"/>
              <a:gd name="connsiteX12" fmla="*/ 3341736 w 10653366"/>
              <a:gd name="connsiteY12" fmla="*/ 0 h 5228144"/>
              <a:gd name="connsiteX13" fmla="*/ 666761 w 10653366"/>
              <a:gd name="connsiteY13" fmla="*/ 2506045 h 5228144"/>
              <a:gd name="connsiteX14" fmla="*/ 0 w 10653366"/>
              <a:gd name="connsiteY14" fmla="*/ 3547297 h 5228144"/>
              <a:gd name="connsiteX0" fmla="*/ 0 w 10687412"/>
              <a:gd name="connsiteY0" fmla="*/ 3615390 h 5309829"/>
              <a:gd name="connsiteX1" fmla="*/ 1120655 w 10687412"/>
              <a:gd name="connsiteY1" fmla="*/ 5180846 h 5309829"/>
              <a:gd name="connsiteX2" fmla="*/ 10687412 w 10687412"/>
              <a:gd name="connsiteY2" fmla="*/ 5228144 h 5309829"/>
              <a:gd name="connsiteX3" fmla="*/ 10645210 w 10687412"/>
              <a:gd name="connsiteY3" fmla="*/ 3666630 h 5309829"/>
              <a:gd name="connsiteX4" fmla="*/ 8975811 w 10687412"/>
              <a:gd name="connsiteY4" fmla="*/ 1540216 h 5309829"/>
              <a:gd name="connsiteX5" fmla="*/ 5257282 w 10687412"/>
              <a:gd name="connsiteY5" fmla="*/ 1556474 h 5309829"/>
              <a:gd name="connsiteX6" fmla="*/ 5904395 w 10687412"/>
              <a:gd name="connsiteY6" fmla="*/ 2527146 h 5309829"/>
              <a:gd name="connsiteX7" fmla="*/ 5786009 w 10687412"/>
              <a:gd name="connsiteY7" fmla="*/ 2879204 h 5309829"/>
              <a:gd name="connsiteX8" fmla="*/ 5997482 w 10687412"/>
              <a:gd name="connsiteY8" fmla="*/ 3180106 h 5309829"/>
              <a:gd name="connsiteX9" fmla="*/ 5749651 w 10687412"/>
              <a:gd name="connsiteY9" fmla="*/ 3188327 h 5309829"/>
              <a:gd name="connsiteX10" fmla="*/ 3808311 w 10687412"/>
              <a:gd name="connsiteY10" fmla="*/ 473263 h 5309829"/>
              <a:gd name="connsiteX11" fmla="*/ 3676033 w 10687412"/>
              <a:gd name="connsiteY11" fmla="*/ 532264 h 5309829"/>
              <a:gd name="connsiteX12" fmla="*/ 3375782 w 10687412"/>
              <a:gd name="connsiteY12" fmla="*/ 0 h 5309829"/>
              <a:gd name="connsiteX13" fmla="*/ 700807 w 10687412"/>
              <a:gd name="connsiteY13" fmla="*/ 2506045 h 5309829"/>
              <a:gd name="connsiteX14" fmla="*/ 0 w 10687412"/>
              <a:gd name="connsiteY14" fmla="*/ 3615390 h 5309829"/>
              <a:gd name="connsiteX0" fmla="*/ 0 w 10687412"/>
              <a:gd name="connsiteY0" fmla="*/ 3615390 h 5309829"/>
              <a:gd name="connsiteX1" fmla="*/ 1120655 w 10687412"/>
              <a:gd name="connsiteY1" fmla="*/ 5180846 h 5309829"/>
              <a:gd name="connsiteX2" fmla="*/ 10687412 w 10687412"/>
              <a:gd name="connsiteY2" fmla="*/ 5228144 h 5309829"/>
              <a:gd name="connsiteX3" fmla="*/ 10645210 w 10687412"/>
              <a:gd name="connsiteY3" fmla="*/ 3666630 h 5309829"/>
              <a:gd name="connsiteX4" fmla="*/ 8975811 w 10687412"/>
              <a:gd name="connsiteY4" fmla="*/ 1540216 h 5309829"/>
              <a:gd name="connsiteX5" fmla="*/ 5257282 w 10687412"/>
              <a:gd name="connsiteY5" fmla="*/ 1556474 h 5309829"/>
              <a:gd name="connsiteX6" fmla="*/ 5904395 w 10687412"/>
              <a:gd name="connsiteY6" fmla="*/ 2527146 h 5309829"/>
              <a:gd name="connsiteX7" fmla="*/ 5786009 w 10687412"/>
              <a:gd name="connsiteY7" fmla="*/ 2879204 h 5309829"/>
              <a:gd name="connsiteX8" fmla="*/ 5997482 w 10687412"/>
              <a:gd name="connsiteY8" fmla="*/ 3180106 h 5309829"/>
              <a:gd name="connsiteX9" fmla="*/ 5749651 w 10687412"/>
              <a:gd name="connsiteY9" fmla="*/ 3188327 h 5309829"/>
              <a:gd name="connsiteX10" fmla="*/ 3808311 w 10687412"/>
              <a:gd name="connsiteY10" fmla="*/ 473263 h 5309829"/>
              <a:gd name="connsiteX11" fmla="*/ 3676033 w 10687412"/>
              <a:gd name="connsiteY11" fmla="*/ 532264 h 5309829"/>
              <a:gd name="connsiteX12" fmla="*/ 3375782 w 10687412"/>
              <a:gd name="connsiteY12" fmla="*/ 0 h 5309829"/>
              <a:gd name="connsiteX13" fmla="*/ 700807 w 10687412"/>
              <a:gd name="connsiteY13" fmla="*/ 2506045 h 5309829"/>
              <a:gd name="connsiteX14" fmla="*/ 0 w 10687412"/>
              <a:gd name="connsiteY14" fmla="*/ 3615390 h 5309829"/>
              <a:gd name="connsiteX0" fmla="*/ 0 w 10687412"/>
              <a:gd name="connsiteY0" fmla="*/ 3615390 h 5309829"/>
              <a:gd name="connsiteX1" fmla="*/ 1120655 w 10687412"/>
              <a:gd name="connsiteY1" fmla="*/ 5180846 h 5309829"/>
              <a:gd name="connsiteX2" fmla="*/ 10687412 w 10687412"/>
              <a:gd name="connsiteY2" fmla="*/ 5228144 h 5309829"/>
              <a:gd name="connsiteX3" fmla="*/ 10645210 w 10687412"/>
              <a:gd name="connsiteY3" fmla="*/ 3666630 h 5309829"/>
              <a:gd name="connsiteX4" fmla="*/ 8975811 w 10687412"/>
              <a:gd name="connsiteY4" fmla="*/ 1540216 h 5309829"/>
              <a:gd name="connsiteX5" fmla="*/ 5257282 w 10687412"/>
              <a:gd name="connsiteY5" fmla="*/ 1556474 h 5309829"/>
              <a:gd name="connsiteX6" fmla="*/ 5904395 w 10687412"/>
              <a:gd name="connsiteY6" fmla="*/ 2527146 h 5309829"/>
              <a:gd name="connsiteX7" fmla="*/ 5786009 w 10687412"/>
              <a:gd name="connsiteY7" fmla="*/ 2879204 h 5309829"/>
              <a:gd name="connsiteX8" fmla="*/ 5997482 w 10687412"/>
              <a:gd name="connsiteY8" fmla="*/ 3180106 h 5309829"/>
              <a:gd name="connsiteX9" fmla="*/ 5749651 w 10687412"/>
              <a:gd name="connsiteY9" fmla="*/ 3188327 h 5309829"/>
              <a:gd name="connsiteX10" fmla="*/ 3808311 w 10687412"/>
              <a:gd name="connsiteY10" fmla="*/ 473263 h 5309829"/>
              <a:gd name="connsiteX11" fmla="*/ 3676033 w 10687412"/>
              <a:gd name="connsiteY11" fmla="*/ 532264 h 5309829"/>
              <a:gd name="connsiteX12" fmla="*/ 3375782 w 10687412"/>
              <a:gd name="connsiteY12" fmla="*/ 0 h 5309829"/>
              <a:gd name="connsiteX13" fmla="*/ 700807 w 10687412"/>
              <a:gd name="connsiteY13" fmla="*/ 2506045 h 5309829"/>
              <a:gd name="connsiteX14" fmla="*/ 0 w 10687412"/>
              <a:gd name="connsiteY14" fmla="*/ 3615390 h 5309829"/>
              <a:gd name="connsiteX0" fmla="*/ 0 w 10687412"/>
              <a:gd name="connsiteY0" fmla="*/ 3615390 h 5228144"/>
              <a:gd name="connsiteX1" fmla="*/ 1120655 w 10687412"/>
              <a:gd name="connsiteY1" fmla="*/ 5180846 h 5228144"/>
              <a:gd name="connsiteX2" fmla="*/ 10687412 w 10687412"/>
              <a:gd name="connsiteY2" fmla="*/ 5228144 h 5228144"/>
              <a:gd name="connsiteX3" fmla="*/ 10645210 w 10687412"/>
              <a:gd name="connsiteY3" fmla="*/ 3666630 h 5228144"/>
              <a:gd name="connsiteX4" fmla="*/ 8975811 w 10687412"/>
              <a:gd name="connsiteY4" fmla="*/ 1540216 h 5228144"/>
              <a:gd name="connsiteX5" fmla="*/ 5257282 w 10687412"/>
              <a:gd name="connsiteY5" fmla="*/ 1556474 h 5228144"/>
              <a:gd name="connsiteX6" fmla="*/ 5904395 w 10687412"/>
              <a:gd name="connsiteY6" fmla="*/ 2527146 h 5228144"/>
              <a:gd name="connsiteX7" fmla="*/ 5786009 w 10687412"/>
              <a:gd name="connsiteY7" fmla="*/ 2879204 h 5228144"/>
              <a:gd name="connsiteX8" fmla="*/ 5997482 w 10687412"/>
              <a:gd name="connsiteY8" fmla="*/ 3180106 h 5228144"/>
              <a:gd name="connsiteX9" fmla="*/ 5749651 w 10687412"/>
              <a:gd name="connsiteY9" fmla="*/ 3188327 h 5228144"/>
              <a:gd name="connsiteX10" fmla="*/ 3808311 w 10687412"/>
              <a:gd name="connsiteY10" fmla="*/ 473263 h 5228144"/>
              <a:gd name="connsiteX11" fmla="*/ 3676033 w 10687412"/>
              <a:gd name="connsiteY11" fmla="*/ 532264 h 5228144"/>
              <a:gd name="connsiteX12" fmla="*/ 3375782 w 10687412"/>
              <a:gd name="connsiteY12" fmla="*/ 0 h 5228144"/>
              <a:gd name="connsiteX13" fmla="*/ 700807 w 10687412"/>
              <a:gd name="connsiteY13" fmla="*/ 2506045 h 5228144"/>
              <a:gd name="connsiteX14" fmla="*/ 0 w 10687412"/>
              <a:gd name="connsiteY14" fmla="*/ 3615390 h 5228144"/>
              <a:gd name="connsiteX0" fmla="*/ 0 w 10687412"/>
              <a:gd name="connsiteY0" fmla="*/ 3615390 h 5228144"/>
              <a:gd name="connsiteX1" fmla="*/ 1120655 w 10687412"/>
              <a:gd name="connsiteY1" fmla="*/ 5180846 h 5228144"/>
              <a:gd name="connsiteX2" fmla="*/ 10687412 w 10687412"/>
              <a:gd name="connsiteY2" fmla="*/ 5228144 h 5228144"/>
              <a:gd name="connsiteX3" fmla="*/ 10645210 w 10687412"/>
              <a:gd name="connsiteY3" fmla="*/ 3666630 h 5228144"/>
              <a:gd name="connsiteX4" fmla="*/ 8975811 w 10687412"/>
              <a:gd name="connsiteY4" fmla="*/ 1540216 h 5228144"/>
              <a:gd name="connsiteX5" fmla="*/ 5257282 w 10687412"/>
              <a:gd name="connsiteY5" fmla="*/ 1556474 h 5228144"/>
              <a:gd name="connsiteX6" fmla="*/ 5904395 w 10687412"/>
              <a:gd name="connsiteY6" fmla="*/ 2527146 h 5228144"/>
              <a:gd name="connsiteX7" fmla="*/ 5786009 w 10687412"/>
              <a:gd name="connsiteY7" fmla="*/ 2879204 h 5228144"/>
              <a:gd name="connsiteX8" fmla="*/ 5997482 w 10687412"/>
              <a:gd name="connsiteY8" fmla="*/ 3180106 h 5228144"/>
              <a:gd name="connsiteX9" fmla="*/ 5749651 w 10687412"/>
              <a:gd name="connsiteY9" fmla="*/ 3188327 h 5228144"/>
              <a:gd name="connsiteX10" fmla="*/ 4430718 w 10687412"/>
              <a:gd name="connsiteY10" fmla="*/ 511683 h 5228144"/>
              <a:gd name="connsiteX11" fmla="*/ 3676033 w 10687412"/>
              <a:gd name="connsiteY11" fmla="*/ 532264 h 5228144"/>
              <a:gd name="connsiteX12" fmla="*/ 3375782 w 10687412"/>
              <a:gd name="connsiteY12" fmla="*/ 0 h 5228144"/>
              <a:gd name="connsiteX13" fmla="*/ 700807 w 10687412"/>
              <a:gd name="connsiteY13" fmla="*/ 2506045 h 5228144"/>
              <a:gd name="connsiteX14" fmla="*/ 0 w 10687412"/>
              <a:gd name="connsiteY14" fmla="*/ 3615390 h 5228144"/>
              <a:gd name="connsiteX0" fmla="*/ 0 w 10687412"/>
              <a:gd name="connsiteY0" fmla="*/ 3615390 h 5228144"/>
              <a:gd name="connsiteX1" fmla="*/ 1120655 w 10687412"/>
              <a:gd name="connsiteY1" fmla="*/ 5180846 h 5228144"/>
              <a:gd name="connsiteX2" fmla="*/ 10687412 w 10687412"/>
              <a:gd name="connsiteY2" fmla="*/ 5228144 h 5228144"/>
              <a:gd name="connsiteX3" fmla="*/ 10645210 w 10687412"/>
              <a:gd name="connsiteY3" fmla="*/ 3666630 h 5228144"/>
              <a:gd name="connsiteX4" fmla="*/ 8975811 w 10687412"/>
              <a:gd name="connsiteY4" fmla="*/ 1540216 h 5228144"/>
              <a:gd name="connsiteX5" fmla="*/ 5257282 w 10687412"/>
              <a:gd name="connsiteY5" fmla="*/ 1556474 h 5228144"/>
              <a:gd name="connsiteX6" fmla="*/ 5904395 w 10687412"/>
              <a:gd name="connsiteY6" fmla="*/ 2527146 h 5228144"/>
              <a:gd name="connsiteX7" fmla="*/ 5786009 w 10687412"/>
              <a:gd name="connsiteY7" fmla="*/ 2879204 h 5228144"/>
              <a:gd name="connsiteX8" fmla="*/ 5997482 w 10687412"/>
              <a:gd name="connsiteY8" fmla="*/ 3180106 h 5228144"/>
              <a:gd name="connsiteX9" fmla="*/ 5749651 w 10687412"/>
              <a:gd name="connsiteY9" fmla="*/ 3188327 h 5228144"/>
              <a:gd name="connsiteX10" fmla="*/ 4430718 w 10687412"/>
              <a:gd name="connsiteY10" fmla="*/ 511683 h 5228144"/>
              <a:gd name="connsiteX11" fmla="*/ 4275387 w 10687412"/>
              <a:gd name="connsiteY11" fmla="*/ 586052 h 5228144"/>
              <a:gd name="connsiteX12" fmla="*/ 3375782 w 10687412"/>
              <a:gd name="connsiteY12" fmla="*/ 0 h 5228144"/>
              <a:gd name="connsiteX13" fmla="*/ 700807 w 10687412"/>
              <a:gd name="connsiteY13" fmla="*/ 2506045 h 5228144"/>
              <a:gd name="connsiteX14" fmla="*/ 0 w 10687412"/>
              <a:gd name="connsiteY14" fmla="*/ 3615390 h 5228144"/>
              <a:gd name="connsiteX0" fmla="*/ 0 w 10687412"/>
              <a:gd name="connsiteY0" fmla="*/ 3623074 h 5235828"/>
              <a:gd name="connsiteX1" fmla="*/ 1120655 w 10687412"/>
              <a:gd name="connsiteY1" fmla="*/ 5188530 h 5235828"/>
              <a:gd name="connsiteX2" fmla="*/ 10687412 w 10687412"/>
              <a:gd name="connsiteY2" fmla="*/ 5235828 h 5235828"/>
              <a:gd name="connsiteX3" fmla="*/ 10645210 w 10687412"/>
              <a:gd name="connsiteY3" fmla="*/ 3674314 h 5235828"/>
              <a:gd name="connsiteX4" fmla="*/ 8975811 w 10687412"/>
              <a:gd name="connsiteY4" fmla="*/ 1547900 h 5235828"/>
              <a:gd name="connsiteX5" fmla="*/ 5257282 w 10687412"/>
              <a:gd name="connsiteY5" fmla="*/ 1564158 h 5235828"/>
              <a:gd name="connsiteX6" fmla="*/ 5904395 w 10687412"/>
              <a:gd name="connsiteY6" fmla="*/ 2534830 h 5235828"/>
              <a:gd name="connsiteX7" fmla="*/ 5786009 w 10687412"/>
              <a:gd name="connsiteY7" fmla="*/ 2886888 h 5235828"/>
              <a:gd name="connsiteX8" fmla="*/ 5997482 w 10687412"/>
              <a:gd name="connsiteY8" fmla="*/ 3187790 h 5235828"/>
              <a:gd name="connsiteX9" fmla="*/ 5749651 w 10687412"/>
              <a:gd name="connsiteY9" fmla="*/ 3196011 h 5235828"/>
              <a:gd name="connsiteX10" fmla="*/ 4430718 w 10687412"/>
              <a:gd name="connsiteY10" fmla="*/ 519367 h 5235828"/>
              <a:gd name="connsiteX11" fmla="*/ 4275387 w 10687412"/>
              <a:gd name="connsiteY11" fmla="*/ 593736 h 5235828"/>
              <a:gd name="connsiteX12" fmla="*/ 3952084 w 10687412"/>
              <a:gd name="connsiteY12" fmla="*/ 0 h 5235828"/>
              <a:gd name="connsiteX13" fmla="*/ 700807 w 10687412"/>
              <a:gd name="connsiteY13" fmla="*/ 2513729 h 5235828"/>
              <a:gd name="connsiteX14" fmla="*/ 0 w 10687412"/>
              <a:gd name="connsiteY14" fmla="*/ 3623074 h 5235828"/>
              <a:gd name="connsiteX0" fmla="*/ 0 w 10687412"/>
              <a:gd name="connsiteY0" fmla="*/ 3623074 h 5235828"/>
              <a:gd name="connsiteX1" fmla="*/ 1120655 w 10687412"/>
              <a:gd name="connsiteY1" fmla="*/ 5188530 h 5235828"/>
              <a:gd name="connsiteX2" fmla="*/ 10687412 w 10687412"/>
              <a:gd name="connsiteY2" fmla="*/ 5235828 h 5235828"/>
              <a:gd name="connsiteX3" fmla="*/ 10645210 w 10687412"/>
              <a:gd name="connsiteY3" fmla="*/ 3674314 h 5235828"/>
              <a:gd name="connsiteX4" fmla="*/ 8975811 w 10687412"/>
              <a:gd name="connsiteY4" fmla="*/ 1547900 h 5235828"/>
              <a:gd name="connsiteX5" fmla="*/ 5257282 w 10687412"/>
              <a:gd name="connsiteY5" fmla="*/ 1564158 h 5235828"/>
              <a:gd name="connsiteX6" fmla="*/ 5904395 w 10687412"/>
              <a:gd name="connsiteY6" fmla="*/ 2534830 h 5235828"/>
              <a:gd name="connsiteX7" fmla="*/ 5786009 w 10687412"/>
              <a:gd name="connsiteY7" fmla="*/ 2886888 h 5235828"/>
              <a:gd name="connsiteX8" fmla="*/ 5997482 w 10687412"/>
              <a:gd name="connsiteY8" fmla="*/ 3187790 h 5235828"/>
              <a:gd name="connsiteX9" fmla="*/ 5749651 w 10687412"/>
              <a:gd name="connsiteY9" fmla="*/ 3196011 h 5235828"/>
              <a:gd name="connsiteX10" fmla="*/ 4392298 w 10687412"/>
              <a:gd name="connsiteY10" fmla="*/ 488631 h 5235828"/>
              <a:gd name="connsiteX11" fmla="*/ 4275387 w 10687412"/>
              <a:gd name="connsiteY11" fmla="*/ 593736 h 5235828"/>
              <a:gd name="connsiteX12" fmla="*/ 3952084 w 10687412"/>
              <a:gd name="connsiteY12" fmla="*/ 0 h 5235828"/>
              <a:gd name="connsiteX13" fmla="*/ 700807 w 10687412"/>
              <a:gd name="connsiteY13" fmla="*/ 2513729 h 5235828"/>
              <a:gd name="connsiteX14" fmla="*/ 0 w 10687412"/>
              <a:gd name="connsiteY14" fmla="*/ 3623074 h 5235828"/>
              <a:gd name="connsiteX0" fmla="*/ 0 w 10687412"/>
              <a:gd name="connsiteY0" fmla="*/ 3623074 h 5235828"/>
              <a:gd name="connsiteX1" fmla="*/ 1120655 w 10687412"/>
              <a:gd name="connsiteY1" fmla="*/ 5188530 h 5235828"/>
              <a:gd name="connsiteX2" fmla="*/ 10687412 w 10687412"/>
              <a:gd name="connsiteY2" fmla="*/ 5235828 h 5235828"/>
              <a:gd name="connsiteX3" fmla="*/ 10645210 w 10687412"/>
              <a:gd name="connsiteY3" fmla="*/ 3674314 h 5235828"/>
              <a:gd name="connsiteX4" fmla="*/ 8975811 w 10687412"/>
              <a:gd name="connsiteY4" fmla="*/ 1547900 h 5235828"/>
              <a:gd name="connsiteX5" fmla="*/ 5257282 w 10687412"/>
              <a:gd name="connsiteY5" fmla="*/ 1564158 h 5235828"/>
              <a:gd name="connsiteX6" fmla="*/ 5904395 w 10687412"/>
              <a:gd name="connsiteY6" fmla="*/ 2534830 h 5235828"/>
              <a:gd name="connsiteX7" fmla="*/ 5786009 w 10687412"/>
              <a:gd name="connsiteY7" fmla="*/ 2886888 h 5235828"/>
              <a:gd name="connsiteX8" fmla="*/ 5997482 w 10687412"/>
              <a:gd name="connsiteY8" fmla="*/ 3187790 h 5235828"/>
              <a:gd name="connsiteX9" fmla="*/ 5749651 w 10687412"/>
              <a:gd name="connsiteY9" fmla="*/ 3196011 h 5235828"/>
              <a:gd name="connsiteX10" fmla="*/ 4369246 w 10687412"/>
              <a:gd name="connsiteY10" fmla="*/ 473263 h 5235828"/>
              <a:gd name="connsiteX11" fmla="*/ 4275387 w 10687412"/>
              <a:gd name="connsiteY11" fmla="*/ 593736 h 5235828"/>
              <a:gd name="connsiteX12" fmla="*/ 3952084 w 10687412"/>
              <a:gd name="connsiteY12" fmla="*/ 0 h 5235828"/>
              <a:gd name="connsiteX13" fmla="*/ 700807 w 10687412"/>
              <a:gd name="connsiteY13" fmla="*/ 2513729 h 5235828"/>
              <a:gd name="connsiteX14" fmla="*/ 0 w 10687412"/>
              <a:gd name="connsiteY14" fmla="*/ 3623074 h 5235828"/>
              <a:gd name="connsiteX0" fmla="*/ 0 w 10687412"/>
              <a:gd name="connsiteY0" fmla="*/ 3623074 h 5235828"/>
              <a:gd name="connsiteX1" fmla="*/ 1120655 w 10687412"/>
              <a:gd name="connsiteY1" fmla="*/ 5188530 h 5235828"/>
              <a:gd name="connsiteX2" fmla="*/ 10687412 w 10687412"/>
              <a:gd name="connsiteY2" fmla="*/ 5235828 h 5235828"/>
              <a:gd name="connsiteX3" fmla="*/ 10645210 w 10687412"/>
              <a:gd name="connsiteY3" fmla="*/ 3674314 h 5235828"/>
              <a:gd name="connsiteX4" fmla="*/ 8975811 w 10687412"/>
              <a:gd name="connsiteY4" fmla="*/ 1547900 h 5235828"/>
              <a:gd name="connsiteX5" fmla="*/ 5257282 w 10687412"/>
              <a:gd name="connsiteY5" fmla="*/ 1564158 h 5235828"/>
              <a:gd name="connsiteX6" fmla="*/ 5904395 w 10687412"/>
              <a:gd name="connsiteY6" fmla="*/ 2534830 h 5235828"/>
              <a:gd name="connsiteX7" fmla="*/ 5786009 w 10687412"/>
              <a:gd name="connsiteY7" fmla="*/ 2886888 h 5235828"/>
              <a:gd name="connsiteX8" fmla="*/ 5997482 w 10687412"/>
              <a:gd name="connsiteY8" fmla="*/ 3187790 h 5235828"/>
              <a:gd name="connsiteX9" fmla="*/ 5749651 w 10687412"/>
              <a:gd name="connsiteY9" fmla="*/ 3196011 h 5235828"/>
              <a:gd name="connsiteX10" fmla="*/ 4369246 w 10687412"/>
              <a:gd name="connsiteY10" fmla="*/ 473263 h 5235828"/>
              <a:gd name="connsiteX11" fmla="*/ 4275387 w 10687412"/>
              <a:gd name="connsiteY11" fmla="*/ 616788 h 5235828"/>
              <a:gd name="connsiteX12" fmla="*/ 3952084 w 10687412"/>
              <a:gd name="connsiteY12" fmla="*/ 0 h 5235828"/>
              <a:gd name="connsiteX13" fmla="*/ 700807 w 10687412"/>
              <a:gd name="connsiteY13" fmla="*/ 2513729 h 5235828"/>
              <a:gd name="connsiteX14" fmla="*/ 0 w 10687412"/>
              <a:gd name="connsiteY14" fmla="*/ 3623074 h 5235828"/>
              <a:gd name="connsiteX0" fmla="*/ 0 w 10687412"/>
              <a:gd name="connsiteY0" fmla="*/ 3623074 h 5235828"/>
              <a:gd name="connsiteX1" fmla="*/ 1120655 w 10687412"/>
              <a:gd name="connsiteY1" fmla="*/ 5188530 h 5235828"/>
              <a:gd name="connsiteX2" fmla="*/ 10687412 w 10687412"/>
              <a:gd name="connsiteY2" fmla="*/ 5235828 h 5235828"/>
              <a:gd name="connsiteX3" fmla="*/ 10645210 w 10687412"/>
              <a:gd name="connsiteY3" fmla="*/ 3674314 h 5235828"/>
              <a:gd name="connsiteX4" fmla="*/ 8975811 w 10687412"/>
              <a:gd name="connsiteY4" fmla="*/ 1547900 h 5235828"/>
              <a:gd name="connsiteX5" fmla="*/ 5257282 w 10687412"/>
              <a:gd name="connsiteY5" fmla="*/ 1564158 h 5235828"/>
              <a:gd name="connsiteX6" fmla="*/ 5904395 w 10687412"/>
              <a:gd name="connsiteY6" fmla="*/ 2534830 h 5235828"/>
              <a:gd name="connsiteX7" fmla="*/ 5786009 w 10687412"/>
              <a:gd name="connsiteY7" fmla="*/ 2886888 h 5235828"/>
              <a:gd name="connsiteX8" fmla="*/ 5997482 w 10687412"/>
              <a:gd name="connsiteY8" fmla="*/ 3187790 h 5235828"/>
              <a:gd name="connsiteX9" fmla="*/ 5857227 w 10687412"/>
              <a:gd name="connsiteY9" fmla="*/ 3157591 h 5235828"/>
              <a:gd name="connsiteX10" fmla="*/ 4369246 w 10687412"/>
              <a:gd name="connsiteY10" fmla="*/ 473263 h 5235828"/>
              <a:gd name="connsiteX11" fmla="*/ 4275387 w 10687412"/>
              <a:gd name="connsiteY11" fmla="*/ 616788 h 5235828"/>
              <a:gd name="connsiteX12" fmla="*/ 3952084 w 10687412"/>
              <a:gd name="connsiteY12" fmla="*/ 0 h 5235828"/>
              <a:gd name="connsiteX13" fmla="*/ 700807 w 10687412"/>
              <a:gd name="connsiteY13" fmla="*/ 2513729 h 5235828"/>
              <a:gd name="connsiteX14" fmla="*/ 0 w 10687412"/>
              <a:gd name="connsiteY14" fmla="*/ 3623074 h 5235828"/>
              <a:gd name="connsiteX0" fmla="*/ 0 w 10687412"/>
              <a:gd name="connsiteY0" fmla="*/ 3623074 h 5235828"/>
              <a:gd name="connsiteX1" fmla="*/ 1120655 w 10687412"/>
              <a:gd name="connsiteY1" fmla="*/ 5188530 h 5235828"/>
              <a:gd name="connsiteX2" fmla="*/ 10687412 w 10687412"/>
              <a:gd name="connsiteY2" fmla="*/ 5235828 h 5235828"/>
              <a:gd name="connsiteX3" fmla="*/ 10645210 w 10687412"/>
              <a:gd name="connsiteY3" fmla="*/ 3674314 h 5235828"/>
              <a:gd name="connsiteX4" fmla="*/ 8975811 w 10687412"/>
              <a:gd name="connsiteY4" fmla="*/ 1547900 h 5235828"/>
              <a:gd name="connsiteX5" fmla="*/ 5257282 w 10687412"/>
              <a:gd name="connsiteY5" fmla="*/ 1564158 h 5235828"/>
              <a:gd name="connsiteX6" fmla="*/ 5873658 w 10687412"/>
              <a:gd name="connsiteY6" fmla="*/ 2757667 h 5235828"/>
              <a:gd name="connsiteX7" fmla="*/ 5786009 w 10687412"/>
              <a:gd name="connsiteY7" fmla="*/ 2886888 h 5235828"/>
              <a:gd name="connsiteX8" fmla="*/ 5997482 w 10687412"/>
              <a:gd name="connsiteY8" fmla="*/ 3187790 h 5235828"/>
              <a:gd name="connsiteX9" fmla="*/ 5857227 w 10687412"/>
              <a:gd name="connsiteY9" fmla="*/ 3157591 h 5235828"/>
              <a:gd name="connsiteX10" fmla="*/ 4369246 w 10687412"/>
              <a:gd name="connsiteY10" fmla="*/ 473263 h 5235828"/>
              <a:gd name="connsiteX11" fmla="*/ 4275387 w 10687412"/>
              <a:gd name="connsiteY11" fmla="*/ 616788 h 5235828"/>
              <a:gd name="connsiteX12" fmla="*/ 3952084 w 10687412"/>
              <a:gd name="connsiteY12" fmla="*/ 0 h 5235828"/>
              <a:gd name="connsiteX13" fmla="*/ 700807 w 10687412"/>
              <a:gd name="connsiteY13" fmla="*/ 2513729 h 5235828"/>
              <a:gd name="connsiteX14" fmla="*/ 0 w 10687412"/>
              <a:gd name="connsiteY14" fmla="*/ 3623074 h 5235828"/>
              <a:gd name="connsiteX0" fmla="*/ 7621 w 11407345"/>
              <a:gd name="connsiteY0" fmla="*/ 3623074 h 5345080"/>
              <a:gd name="connsiteX1" fmla="*/ 932333 w 11407345"/>
              <a:gd name="connsiteY1" fmla="*/ 5210302 h 5345080"/>
              <a:gd name="connsiteX2" fmla="*/ 10695033 w 11407345"/>
              <a:gd name="connsiteY2" fmla="*/ 5235828 h 5345080"/>
              <a:gd name="connsiteX3" fmla="*/ 10652831 w 11407345"/>
              <a:gd name="connsiteY3" fmla="*/ 3674314 h 5345080"/>
              <a:gd name="connsiteX4" fmla="*/ 8983432 w 11407345"/>
              <a:gd name="connsiteY4" fmla="*/ 1547900 h 5345080"/>
              <a:gd name="connsiteX5" fmla="*/ 5264903 w 11407345"/>
              <a:gd name="connsiteY5" fmla="*/ 1564158 h 5345080"/>
              <a:gd name="connsiteX6" fmla="*/ 5881279 w 11407345"/>
              <a:gd name="connsiteY6" fmla="*/ 2757667 h 5345080"/>
              <a:gd name="connsiteX7" fmla="*/ 5793630 w 11407345"/>
              <a:gd name="connsiteY7" fmla="*/ 2886888 h 5345080"/>
              <a:gd name="connsiteX8" fmla="*/ 6005103 w 11407345"/>
              <a:gd name="connsiteY8" fmla="*/ 3187790 h 5345080"/>
              <a:gd name="connsiteX9" fmla="*/ 5864848 w 11407345"/>
              <a:gd name="connsiteY9" fmla="*/ 3157591 h 5345080"/>
              <a:gd name="connsiteX10" fmla="*/ 4376867 w 11407345"/>
              <a:gd name="connsiteY10" fmla="*/ 473263 h 5345080"/>
              <a:gd name="connsiteX11" fmla="*/ 4283008 w 11407345"/>
              <a:gd name="connsiteY11" fmla="*/ 616788 h 5345080"/>
              <a:gd name="connsiteX12" fmla="*/ 3959705 w 11407345"/>
              <a:gd name="connsiteY12" fmla="*/ 0 h 5345080"/>
              <a:gd name="connsiteX13" fmla="*/ 708428 w 11407345"/>
              <a:gd name="connsiteY13" fmla="*/ 2513729 h 5345080"/>
              <a:gd name="connsiteX14" fmla="*/ 7621 w 11407345"/>
              <a:gd name="connsiteY14" fmla="*/ 3623074 h 5345080"/>
              <a:gd name="connsiteX0" fmla="*/ 7621 w 11407345"/>
              <a:gd name="connsiteY0" fmla="*/ 3623074 h 5345080"/>
              <a:gd name="connsiteX1" fmla="*/ 932333 w 11407345"/>
              <a:gd name="connsiteY1" fmla="*/ 5210302 h 5345080"/>
              <a:gd name="connsiteX2" fmla="*/ 10695033 w 11407345"/>
              <a:gd name="connsiteY2" fmla="*/ 5235828 h 5345080"/>
              <a:gd name="connsiteX3" fmla="*/ 10652831 w 11407345"/>
              <a:gd name="connsiteY3" fmla="*/ 3674314 h 5345080"/>
              <a:gd name="connsiteX4" fmla="*/ 8983432 w 11407345"/>
              <a:gd name="connsiteY4" fmla="*/ 1547900 h 5345080"/>
              <a:gd name="connsiteX5" fmla="*/ 5264903 w 11407345"/>
              <a:gd name="connsiteY5" fmla="*/ 1564158 h 5345080"/>
              <a:gd name="connsiteX6" fmla="*/ 5881279 w 11407345"/>
              <a:gd name="connsiteY6" fmla="*/ 2757667 h 5345080"/>
              <a:gd name="connsiteX7" fmla="*/ 5793630 w 11407345"/>
              <a:gd name="connsiteY7" fmla="*/ 2886888 h 5345080"/>
              <a:gd name="connsiteX8" fmla="*/ 6005103 w 11407345"/>
              <a:gd name="connsiteY8" fmla="*/ 3187790 h 5345080"/>
              <a:gd name="connsiteX9" fmla="*/ 5864848 w 11407345"/>
              <a:gd name="connsiteY9" fmla="*/ 3157591 h 5345080"/>
              <a:gd name="connsiteX10" fmla="*/ 4376867 w 11407345"/>
              <a:gd name="connsiteY10" fmla="*/ 473263 h 5345080"/>
              <a:gd name="connsiteX11" fmla="*/ 4283008 w 11407345"/>
              <a:gd name="connsiteY11" fmla="*/ 616788 h 5345080"/>
              <a:gd name="connsiteX12" fmla="*/ 3959705 w 11407345"/>
              <a:gd name="connsiteY12" fmla="*/ 0 h 5345080"/>
              <a:gd name="connsiteX13" fmla="*/ 708428 w 11407345"/>
              <a:gd name="connsiteY13" fmla="*/ 2513729 h 5345080"/>
              <a:gd name="connsiteX14" fmla="*/ 7621 w 11407345"/>
              <a:gd name="connsiteY14" fmla="*/ 3623074 h 5345080"/>
              <a:gd name="connsiteX0" fmla="*/ 7621 w 10695033"/>
              <a:gd name="connsiteY0" fmla="*/ 3623074 h 5345080"/>
              <a:gd name="connsiteX1" fmla="*/ 932333 w 10695033"/>
              <a:gd name="connsiteY1" fmla="*/ 5210302 h 5345080"/>
              <a:gd name="connsiteX2" fmla="*/ 10695033 w 10695033"/>
              <a:gd name="connsiteY2" fmla="*/ 5235828 h 5345080"/>
              <a:gd name="connsiteX3" fmla="*/ 10652831 w 10695033"/>
              <a:gd name="connsiteY3" fmla="*/ 3674314 h 5345080"/>
              <a:gd name="connsiteX4" fmla="*/ 8983432 w 10695033"/>
              <a:gd name="connsiteY4" fmla="*/ 1547900 h 5345080"/>
              <a:gd name="connsiteX5" fmla="*/ 5264903 w 10695033"/>
              <a:gd name="connsiteY5" fmla="*/ 1564158 h 5345080"/>
              <a:gd name="connsiteX6" fmla="*/ 5881279 w 10695033"/>
              <a:gd name="connsiteY6" fmla="*/ 2757667 h 5345080"/>
              <a:gd name="connsiteX7" fmla="*/ 5793630 w 10695033"/>
              <a:gd name="connsiteY7" fmla="*/ 2886888 h 5345080"/>
              <a:gd name="connsiteX8" fmla="*/ 6005103 w 10695033"/>
              <a:gd name="connsiteY8" fmla="*/ 3187790 h 5345080"/>
              <a:gd name="connsiteX9" fmla="*/ 5864848 w 10695033"/>
              <a:gd name="connsiteY9" fmla="*/ 3157591 h 5345080"/>
              <a:gd name="connsiteX10" fmla="*/ 4376867 w 10695033"/>
              <a:gd name="connsiteY10" fmla="*/ 473263 h 5345080"/>
              <a:gd name="connsiteX11" fmla="*/ 4283008 w 10695033"/>
              <a:gd name="connsiteY11" fmla="*/ 616788 h 5345080"/>
              <a:gd name="connsiteX12" fmla="*/ 3959705 w 10695033"/>
              <a:gd name="connsiteY12" fmla="*/ 0 h 5345080"/>
              <a:gd name="connsiteX13" fmla="*/ 708428 w 10695033"/>
              <a:gd name="connsiteY13" fmla="*/ 2513729 h 5345080"/>
              <a:gd name="connsiteX14" fmla="*/ 7621 w 10695033"/>
              <a:gd name="connsiteY14" fmla="*/ 3623074 h 5345080"/>
              <a:gd name="connsiteX0" fmla="*/ 7621 w 10695033"/>
              <a:gd name="connsiteY0" fmla="*/ 3623074 h 5235828"/>
              <a:gd name="connsiteX1" fmla="*/ 932333 w 10695033"/>
              <a:gd name="connsiteY1" fmla="*/ 5210302 h 5235828"/>
              <a:gd name="connsiteX2" fmla="*/ 10695033 w 10695033"/>
              <a:gd name="connsiteY2" fmla="*/ 5235828 h 5235828"/>
              <a:gd name="connsiteX3" fmla="*/ 10652831 w 10695033"/>
              <a:gd name="connsiteY3" fmla="*/ 3674314 h 5235828"/>
              <a:gd name="connsiteX4" fmla="*/ 8983432 w 10695033"/>
              <a:gd name="connsiteY4" fmla="*/ 1547900 h 5235828"/>
              <a:gd name="connsiteX5" fmla="*/ 5264903 w 10695033"/>
              <a:gd name="connsiteY5" fmla="*/ 1564158 h 5235828"/>
              <a:gd name="connsiteX6" fmla="*/ 5881279 w 10695033"/>
              <a:gd name="connsiteY6" fmla="*/ 2757667 h 5235828"/>
              <a:gd name="connsiteX7" fmla="*/ 5793630 w 10695033"/>
              <a:gd name="connsiteY7" fmla="*/ 2886888 h 5235828"/>
              <a:gd name="connsiteX8" fmla="*/ 6005103 w 10695033"/>
              <a:gd name="connsiteY8" fmla="*/ 3187790 h 5235828"/>
              <a:gd name="connsiteX9" fmla="*/ 5864848 w 10695033"/>
              <a:gd name="connsiteY9" fmla="*/ 3157591 h 5235828"/>
              <a:gd name="connsiteX10" fmla="*/ 4376867 w 10695033"/>
              <a:gd name="connsiteY10" fmla="*/ 473263 h 5235828"/>
              <a:gd name="connsiteX11" fmla="*/ 4283008 w 10695033"/>
              <a:gd name="connsiteY11" fmla="*/ 616788 h 5235828"/>
              <a:gd name="connsiteX12" fmla="*/ 3959705 w 10695033"/>
              <a:gd name="connsiteY12" fmla="*/ 0 h 5235828"/>
              <a:gd name="connsiteX13" fmla="*/ 708428 w 10695033"/>
              <a:gd name="connsiteY13" fmla="*/ 2513729 h 5235828"/>
              <a:gd name="connsiteX14" fmla="*/ 7621 w 10695033"/>
              <a:gd name="connsiteY14" fmla="*/ 3623074 h 5235828"/>
              <a:gd name="connsiteX0" fmla="*/ 7621 w 11424215"/>
              <a:gd name="connsiteY0" fmla="*/ 3623074 h 5292023"/>
              <a:gd name="connsiteX1" fmla="*/ 932333 w 11424215"/>
              <a:gd name="connsiteY1" fmla="*/ 5210302 h 5292023"/>
              <a:gd name="connsiteX2" fmla="*/ 10695033 w 11424215"/>
              <a:gd name="connsiteY2" fmla="*/ 5235828 h 5292023"/>
              <a:gd name="connsiteX3" fmla="*/ 10718146 w 11424215"/>
              <a:gd name="connsiteY3" fmla="*/ 4392771 h 5292023"/>
              <a:gd name="connsiteX4" fmla="*/ 8983432 w 11424215"/>
              <a:gd name="connsiteY4" fmla="*/ 1547900 h 5292023"/>
              <a:gd name="connsiteX5" fmla="*/ 5264903 w 11424215"/>
              <a:gd name="connsiteY5" fmla="*/ 1564158 h 5292023"/>
              <a:gd name="connsiteX6" fmla="*/ 5881279 w 11424215"/>
              <a:gd name="connsiteY6" fmla="*/ 2757667 h 5292023"/>
              <a:gd name="connsiteX7" fmla="*/ 5793630 w 11424215"/>
              <a:gd name="connsiteY7" fmla="*/ 2886888 h 5292023"/>
              <a:gd name="connsiteX8" fmla="*/ 6005103 w 11424215"/>
              <a:gd name="connsiteY8" fmla="*/ 3187790 h 5292023"/>
              <a:gd name="connsiteX9" fmla="*/ 5864848 w 11424215"/>
              <a:gd name="connsiteY9" fmla="*/ 3157591 h 5292023"/>
              <a:gd name="connsiteX10" fmla="*/ 4376867 w 11424215"/>
              <a:gd name="connsiteY10" fmla="*/ 473263 h 5292023"/>
              <a:gd name="connsiteX11" fmla="*/ 4283008 w 11424215"/>
              <a:gd name="connsiteY11" fmla="*/ 616788 h 5292023"/>
              <a:gd name="connsiteX12" fmla="*/ 3959705 w 11424215"/>
              <a:gd name="connsiteY12" fmla="*/ 0 h 5292023"/>
              <a:gd name="connsiteX13" fmla="*/ 708428 w 11424215"/>
              <a:gd name="connsiteY13" fmla="*/ 2513729 h 5292023"/>
              <a:gd name="connsiteX14" fmla="*/ 7621 w 11424215"/>
              <a:gd name="connsiteY14" fmla="*/ 3623074 h 5292023"/>
              <a:gd name="connsiteX0" fmla="*/ 7621 w 10718146"/>
              <a:gd name="connsiteY0" fmla="*/ 3623074 h 5292023"/>
              <a:gd name="connsiteX1" fmla="*/ 932333 w 10718146"/>
              <a:gd name="connsiteY1" fmla="*/ 5210302 h 5292023"/>
              <a:gd name="connsiteX2" fmla="*/ 10695033 w 10718146"/>
              <a:gd name="connsiteY2" fmla="*/ 5235828 h 5292023"/>
              <a:gd name="connsiteX3" fmla="*/ 10718146 w 10718146"/>
              <a:gd name="connsiteY3" fmla="*/ 4392771 h 5292023"/>
              <a:gd name="connsiteX4" fmla="*/ 8983432 w 10718146"/>
              <a:gd name="connsiteY4" fmla="*/ 1547900 h 5292023"/>
              <a:gd name="connsiteX5" fmla="*/ 5264903 w 10718146"/>
              <a:gd name="connsiteY5" fmla="*/ 1564158 h 5292023"/>
              <a:gd name="connsiteX6" fmla="*/ 5881279 w 10718146"/>
              <a:gd name="connsiteY6" fmla="*/ 2757667 h 5292023"/>
              <a:gd name="connsiteX7" fmla="*/ 5793630 w 10718146"/>
              <a:gd name="connsiteY7" fmla="*/ 2886888 h 5292023"/>
              <a:gd name="connsiteX8" fmla="*/ 6005103 w 10718146"/>
              <a:gd name="connsiteY8" fmla="*/ 3187790 h 5292023"/>
              <a:gd name="connsiteX9" fmla="*/ 5864848 w 10718146"/>
              <a:gd name="connsiteY9" fmla="*/ 3157591 h 5292023"/>
              <a:gd name="connsiteX10" fmla="*/ 4376867 w 10718146"/>
              <a:gd name="connsiteY10" fmla="*/ 473263 h 5292023"/>
              <a:gd name="connsiteX11" fmla="*/ 4283008 w 10718146"/>
              <a:gd name="connsiteY11" fmla="*/ 616788 h 5292023"/>
              <a:gd name="connsiteX12" fmla="*/ 3959705 w 10718146"/>
              <a:gd name="connsiteY12" fmla="*/ 0 h 5292023"/>
              <a:gd name="connsiteX13" fmla="*/ 708428 w 10718146"/>
              <a:gd name="connsiteY13" fmla="*/ 2513729 h 5292023"/>
              <a:gd name="connsiteX14" fmla="*/ 7621 w 10718146"/>
              <a:gd name="connsiteY14" fmla="*/ 3623074 h 5292023"/>
              <a:gd name="connsiteX0" fmla="*/ 7621 w 10718146"/>
              <a:gd name="connsiteY0" fmla="*/ 3623074 h 5235828"/>
              <a:gd name="connsiteX1" fmla="*/ 932333 w 10718146"/>
              <a:gd name="connsiteY1" fmla="*/ 5210302 h 5235828"/>
              <a:gd name="connsiteX2" fmla="*/ 10695033 w 10718146"/>
              <a:gd name="connsiteY2" fmla="*/ 5235828 h 5235828"/>
              <a:gd name="connsiteX3" fmla="*/ 10718146 w 10718146"/>
              <a:gd name="connsiteY3" fmla="*/ 4392771 h 5235828"/>
              <a:gd name="connsiteX4" fmla="*/ 8983432 w 10718146"/>
              <a:gd name="connsiteY4" fmla="*/ 1547900 h 5235828"/>
              <a:gd name="connsiteX5" fmla="*/ 5264903 w 10718146"/>
              <a:gd name="connsiteY5" fmla="*/ 1564158 h 5235828"/>
              <a:gd name="connsiteX6" fmla="*/ 5881279 w 10718146"/>
              <a:gd name="connsiteY6" fmla="*/ 2757667 h 5235828"/>
              <a:gd name="connsiteX7" fmla="*/ 5793630 w 10718146"/>
              <a:gd name="connsiteY7" fmla="*/ 2886888 h 5235828"/>
              <a:gd name="connsiteX8" fmla="*/ 6005103 w 10718146"/>
              <a:gd name="connsiteY8" fmla="*/ 3187790 h 5235828"/>
              <a:gd name="connsiteX9" fmla="*/ 5864848 w 10718146"/>
              <a:gd name="connsiteY9" fmla="*/ 3157591 h 5235828"/>
              <a:gd name="connsiteX10" fmla="*/ 4376867 w 10718146"/>
              <a:gd name="connsiteY10" fmla="*/ 473263 h 5235828"/>
              <a:gd name="connsiteX11" fmla="*/ 4283008 w 10718146"/>
              <a:gd name="connsiteY11" fmla="*/ 616788 h 5235828"/>
              <a:gd name="connsiteX12" fmla="*/ 3959705 w 10718146"/>
              <a:gd name="connsiteY12" fmla="*/ 0 h 5235828"/>
              <a:gd name="connsiteX13" fmla="*/ 708428 w 10718146"/>
              <a:gd name="connsiteY13" fmla="*/ 2513729 h 5235828"/>
              <a:gd name="connsiteX14" fmla="*/ 7621 w 10718146"/>
              <a:gd name="connsiteY14" fmla="*/ 3623074 h 5235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718146" h="5235828">
                <a:moveTo>
                  <a:pt x="7621" y="3623074"/>
                </a:moveTo>
                <a:lnTo>
                  <a:pt x="932333" y="5210302"/>
                </a:lnTo>
                <a:lnTo>
                  <a:pt x="10695033" y="5235828"/>
                </a:lnTo>
                <a:lnTo>
                  <a:pt x="10718146" y="4392771"/>
                </a:lnTo>
                <a:lnTo>
                  <a:pt x="8983432" y="1547900"/>
                </a:lnTo>
                <a:lnTo>
                  <a:pt x="5264903" y="1564158"/>
                </a:lnTo>
                <a:lnTo>
                  <a:pt x="5881279" y="2757667"/>
                </a:lnTo>
                <a:lnTo>
                  <a:pt x="5793630" y="2886888"/>
                </a:lnTo>
                <a:lnTo>
                  <a:pt x="6005103" y="3187790"/>
                </a:lnTo>
                <a:lnTo>
                  <a:pt x="5864848" y="3157591"/>
                </a:lnTo>
                <a:lnTo>
                  <a:pt x="4376867" y="473263"/>
                </a:lnTo>
                <a:cubicBezTo>
                  <a:pt x="4319126" y="411043"/>
                  <a:pt x="4340749" y="679008"/>
                  <a:pt x="4283008" y="616788"/>
                </a:cubicBezTo>
                <a:lnTo>
                  <a:pt x="3959705" y="0"/>
                </a:lnTo>
                <a:cubicBezTo>
                  <a:pt x="3068047" y="835348"/>
                  <a:pt x="1367108" y="1909884"/>
                  <a:pt x="708428" y="2513729"/>
                </a:cubicBezTo>
                <a:cubicBezTo>
                  <a:pt x="49748" y="3117574"/>
                  <a:pt x="-29697" y="3173645"/>
                  <a:pt x="7621" y="3623074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441" y="680310"/>
            <a:ext cx="10969943" cy="71108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ra Bank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Loan Purchase Modeling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5" name="Group 30"/>
          <p:cNvGrpSpPr/>
          <p:nvPr/>
        </p:nvGrpSpPr>
        <p:grpSpPr>
          <a:xfrm rot="19371509">
            <a:off x="1305110" y="2519516"/>
            <a:ext cx="4854575" cy="2338388"/>
            <a:chOff x="6948488" y="2060575"/>
            <a:chExt cx="4854575" cy="2338388"/>
          </a:xfrm>
        </p:grpSpPr>
        <p:sp>
          <p:nvSpPr>
            <p:cNvPr id="46" name="Rectangle 23"/>
            <p:cNvSpPr>
              <a:spLocks noChangeArrowheads="1"/>
            </p:cNvSpPr>
            <p:nvPr/>
          </p:nvSpPr>
          <p:spPr bwMode="auto">
            <a:xfrm>
              <a:off x="6948488" y="2060575"/>
              <a:ext cx="4854575" cy="233838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/>
            <p:cNvSpPr>
              <a:spLocks/>
            </p:cNvSpPr>
            <p:nvPr/>
          </p:nvSpPr>
          <p:spPr bwMode="auto">
            <a:xfrm>
              <a:off x="7162799" y="2209800"/>
              <a:ext cx="2208212" cy="2041525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391" y="0"/>
                </a:cxn>
                <a:cxn ang="0">
                  <a:pos x="1391" y="1286"/>
                </a:cxn>
                <a:cxn ang="0">
                  <a:pos x="225" y="1286"/>
                </a:cxn>
                <a:cxn ang="0">
                  <a:pos x="209" y="1237"/>
                </a:cxn>
                <a:cxn ang="0">
                  <a:pos x="186" y="1192"/>
                </a:cxn>
                <a:cxn ang="0">
                  <a:pos x="159" y="1151"/>
                </a:cxn>
                <a:cxn ang="0">
                  <a:pos x="126" y="1113"/>
                </a:cxn>
                <a:cxn ang="0">
                  <a:pos x="87" y="1080"/>
                </a:cxn>
                <a:cxn ang="0">
                  <a:pos x="45" y="1052"/>
                </a:cxn>
                <a:cxn ang="0">
                  <a:pos x="0" y="1031"/>
                </a:cxn>
                <a:cxn ang="0">
                  <a:pos x="0" y="254"/>
                </a:cxn>
                <a:cxn ang="0">
                  <a:pos x="45" y="233"/>
                </a:cxn>
                <a:cxn ang="0">
                  <a:pos x="87" y="206"/>
                </a:cxn>
                <a:cxn ang="0">
                  <a:pos x="126" y="173"/>
                </a:cxn>
                <a:cxn ang="0">
                  <a:pos x="159" y="136"/>
                </a:cxn>
                <a:cxn ang="0">
                  <a:pos x="186" y="95"/>
                </a:cxn>
                <a:cxn ang="0">
                  <a:pos x="209" y="50"/>
                </a:cxn>
                <a:cxn ang="0">
                  <a:pos x="225" y="0"/>
                </a:cxn>
              </a:cxnLst>
              <a:rect l="0" t="0" r="r" b="b"/>
              <a:pathLst>
                <a:path w="1391" h="1286">
                  <a:moveTo>
                    <a:pt x="225" y="0"/>
                  </a:moveTo>
                  <a:lnTo>
                    <a:pt x="1391" y="0"/>
                  </a:lnTo>
                  <a:lnTo>
                    <a:pt x="1391" y="1286"/>
                  </a:lnTo>
                  <a:lnTo>
                    <a:pt x="225" y="1286"/>
                  </a:lnTo>
                  <a:lnTo>
                    <a:pt x="209" y="1237"/>
                  </a:lnTo>
                  <a:lnTo>
                    <a:pt x="186" y="1192"/>
                  </a:lnTo>
                  <a:lnTo>
                    <a:pt x="159" y="1151"/>
                  </a:lnTo>
                  <a:lnTo>
                    <a:pt x="126" y="1113"/>
                  </a:lnTo>
                  <a:lnTo>
                    <a:pt x="87" y="1080"/>
                  </a:lnTo>
                  <a:lnTo>
                    <a:pt x="45" y="1052"/>
                  </a:lnTo>
                  <a:lnTo>
                    <a:pt x="0" y="1031"/>
                  </a:lnTo>
                  <a:lnTo>
                    <a:pt x="0" y="254"/>
                  </a:lnTo>
                  <a:lnTo>
                    <a:pt x="45" y="233"/>
                  </a:lnTo>
                  <a:lnTo>
                    <a:pt x="87" y="206"/>
                  </a:lnTo>
                  <a:lnTo>
                    <a:pt x="126" y="173"/>
                  </a:lnTo>
                  <a:lnTo>
                    <a:pt x="159" y="136"/>
                  </a:lnTo>
                  <a:lnTo>
                    <a:pt x="186" y="95"/>
                  </a:lnTo>
                  <a:lnTo>
                    <a:pt x="209" y="50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/>
            <p:cNvSpPr>
              <a:spLocks/>
            </p:cNvSpPr>
            <p:nvPr/>
          </p:nvSpPr>
          <p:spPr bwMode="auto">
            <a:xfrm>
              <a:off x="9371012" y="2209800"/>
              <a:ext cx="2217737" cy="2041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69" y="0"/>
                </a:cxn>
                <a:cxn ang="0">
                  <a:pos x="1185" y="51"/>
                </a:cxn>
                <a:cxn ang="0">
                  <a:pos x="1206" y="97"/>
                </a:cxn>
                <a:cxn ang="0">
                  <a:pos x="1234" y="141"/>
                </a:cxn>
                <a:cxn ang="0">
                  <a:pos x="1269" y="180"/>
                </a:cxn>
                <a:cxn ang="0">
                  <a:pos x="1307" y="214"/>
                </a:cxn>
                <a:cxn ang="0">
                  <a:pos x="1349" y="242"/>
                </a:cxn>
                <a:cxn ang="0">
                  <a:pos x="1397" y="265"/>
                </a:cxn>
                <a:cxn ang="0">
                  <a:pos x="1397" y="1031"/>
                </a:cxn>
                <a:cxn ang="0">
                  <a:pos x="1352" y="1052"/>
                </a:cxn>
                <a:cxn ang="0">
                  <a:pos x="1310" y="1080"/>
                </a:cxn>
                <a:cxn ang="0">
                  <a:pos x="1271" y="1113"/>
                </a:cxn>
                <a:cxn ang="0">
                  <a:pos x="1238" y="1151"/>
                </a:cxn>
                <a:cxn ang="0">
                  <a:pos x="1210" y="1192"/>
                </a:cxn>
                <a:cxn ang="0">
                  <a:pos x="1188" y="1237"/>
                </a:cxn>
                <a:cxn ang="0">
                  <a:pos x="1172" y="1286"/>
                </a:cxn>
                <a:cxn ang="0">
                  <a:pos x="0" y="1286"/>
                </a:cxn>
                <a:cxn ang="0">
                  <a:pos x="0" y="0"/>
                </a:cxn>
              </a:cxnLst>
              <a:rect l="0" t="0" r="r" b="b"/>
              <a:pathLst>
                <a:path w="1397" h="1286">
                  <a:moveTo>
                    <a:pt x="0" y="0"/>
                  </a:moveTo>
                  <a:lnTo>
                    <a:pt x="1169" y="0"/>
                  </a:lnTo>
                  <a:lnTo>
                    <a:pt x="1185" y="51"/>
                  </a:lnTo>
                  <a:lnTo>
                    <a:pt x="1206" y="97"/>
                  </a:lnTo>
                  <a:lnTo>
                    <a:pt x="1234" y="141"/>
                  </a:lnTo>
                  <a:lnTo>
                    <a:pt x="1269" y="180"/>
                  </a:lnTo>
                  <a:lnTo>
                    <a:pt x="1307" y="214"/>
                  </a:lnTo>
                  <a:lnTo>
                    <a:pt x="1349" y="242"/>
                  </a:lnTo>
                  <a:lnTo>
                    <a:pt x="1397" y="265"/>
                  </a:lnTo>
                  <a:lnTo>
                    <a:pt x="1397" y="1031"/>
                  </a:lnTo>
                  <a:lnTo>
                    <a:pt x="1352" y="1052"/>
                  </a:lnTo>
                  <a:lnTo>
                    <a:pt x="1310" y="1080"/>
                  </a:lnTo>
                  <a:lnTo>
                    <a:pt x="1271" y="1113"/>
                  </a:lnTo>
                  <a:lnTo>
                    <a:pt x="1238" y="1151"/>
                  </a:lnTo>
                  <a:lnTo>
                    <a:pt x="1210" y="1192"/>
                  </a:lnTo>
                  <a:lnTo>
                    <a:pt x="1188" y="1237"/>
                  </a:lnTo>
                  <a:lnTo>
                    <a:pt x="1172" y="1286"/>
                  </a:lnTo>
                  <a:lnTo>
                    <a:pt x="0" y="12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/>
            <p:cNvSpPr>
              <a:spLocks/>
            </p:cNvSpPr>
            <p:nvPr/>
          </p:nvSpPr>
          <p:spPr bwMode="auto">
            <a:xfrm>
              <a:off x="8015287" y="3067050"/>
              <a:ext cx="327025" cy="32861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31" y="4"/>
                </a:cxn>
                <a:cxn ang="0">
                  <a:pos x="155" y="14"/>
                </a:cxn>
                <a:cxn ang="0">
                  <a:pos x="176" y="30"/>
                </a:cxn>
                <a:cxn ang="0">
                  <a:pos x="192" y="51"/>
                </a:cxn>
                <a:cxn ang="0">
                  <a:pos x="202" y="75"/>
                </a:cxn>
                <a:cxn ang="0">
                  <a:pos x="206" y="103"/>
                </a:cxn>
                <a:cxn ang="0">
                  <a:pos x="202" y="131"/>
                </a:cxn>
                <a:cxn ang="0">
                  <a:pos x="192" y="155"/>
                </a:cxn>
                <a:cxn ang="0">
                  <a:pos x="176" y="176"/>
                </a:cxn>
                <a:cxn ang="0">
                  <a:pos x="155" y="192"/>
                </a:cxn>
                <a:cxn ang="0">
                  <a:pos x="131" y="203"/>
                </a:cxn>
                <a:cxn ang="0">
                  <a:pos x="103" y="207"/>
                </a:cxn>
                <a:cxn ang="0">
                  <a:pos x="75" y="203"/>
                </a:cxn>
                <a:cxn ang="0">
                  <a:pos x="51" y="192"/>
                </a:cxn>
                <a:cxn ang="0">
                  <a:pos x="30" y="176"/>
                </a:cxn>
                <a:cxn ang="0">
                  <a:pos x="14" y="155"/>
                </a:cxn>
                <a:cxn ang="0">
                  <a:pos x="4" y="131"/>
                </a:cxn>
                <a:cxn ang="0">
                  <a:pos x="0" y="103"/>
                </a:cxn>
                <a:cxn ang="0">
                  <a:pos x="4" y="75"/>
                </a:cxn>
                <a:cxn ang="0">
                  <a:pos x="14" y="51"/>
                </a:cxn>
                <a:cxn ang="0">
                  <a:pos x="30" y="30"/>
                </a:cxn>
                <a:cxn ang="0">
                  <a:pos x="51" y="14"/>
                </a:cxn>
                <a:cxn ang="0">
                  <a:pos x="75" y="4"/>
                </a:cxn>
                <a:cxn ang="0">
                  <a:pos x="103" y="0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lnTo>
                    <a:pt x="131" y="4"/>
                  </a:lnTo>
                  <a:lnTo>
                    <a:pt x="155" y="14"/>
                  </a:lnTo>
                  <a:lnTo>
                    <a:pt x="176" y="30"/>
                  </a:lnTo>
                  <a:lnTo>
                    <a:pt x="192" y="51"/>
                  </a:lnTo>
                  <a:lnTo>
                    <a:pt x="202" y="75"/>
                  </a:lnTo>
                  <a:lnTo>
                    <a:pt x="206" y="103"/>
                  </a:lnTo>
                  <a:lnTo>
                    <a:pt x="202" y="131"/>
                  </a:lnTo>
                  <a:lnTo>
                    <a:pt x="192" y="155"/>
                  </a:lnTo>
                  <a:lnTo>
                    <a:pt x="176" y="176"/>
                  </a:lnTo>
                  <a:lnTo>
                    <a:pt x="155" y="192"/>
                  </a:lnTo>
                  <a:lnTo>
                    <a:pt x="131" y="203"/>
                  </a:lnTo>
                  <a:lnTo>
                    <a:pt x="103" y="207"/>
                  </a:lnTo>
                  <a:lnTo>
                    <a:pt x="75" y="203"/>
                  </a:lnTo>
                  <a:lnTo>
                    <a:pt x="51" y="192"/>
                  </a:lnTo>
                  <a:lnTo>
                    <a:pt x="30" y="176"/>
                  </a:lnTo>
                  <a:lnTo>
                    <a:pt x="14" y="155"/>
                  </a:lnTo>
                  <a:lnTo>
                    <a:pt x="4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4" y="51"/>
                  </a:lnTo>
                  <a:lnTo>
                    <a:pt x="30" y="30"/>
                  </a:lnTo>
                  <a:lnTo>
                    <a:pt x="51" y="14"/>
                  </a:lnTo>
                  <a:lnTo>
                    <a:pt x="75" y="4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/>
            <p:cNvSpPr>
              <a:spLocks/>
            </p:cNvSpPr>
            <p:nvPr/>
          </p:nvSpPr>
          <p:spPr bwMode="auto">
            <a:xfrm>
              <a:off x="10409237" y="3067050"/>
              <a:ext cx="327025" cy="32861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31" y="4"/>
                </a:cxn>
                <a:cxn ang="0">
                  <a:pos x="154" y="14"/>
                </a:cxn>
                <a:cxn ang="0">
                  <a:pos x="176" y="30"/>
                </a:cxn>
                <a:cxn ang="0">
                  <a:pos x="191" y="51"/>
                </a:cxn>
                <a:cxn ang="0">
                  <a:pos x="202" y="75"/>
                </a:cxn>
                <a:cxn ang="0">
                  <a:pos x="206" y="103"/>
                </a:cxn>
                <a:cxn ang="0">
                  <a:pos x="202" y="131"/>
                </a:cxn>
                <a:cxn ang="0">
                  <a:pos x="191" y="155"/>
                </a:cxn>
                <a:cxn ang="0">
                  <a:pos x="176" y="176"/>
                </a:cxn>
                <a:cxn ang="0">
                  <a:pos x="154" y="192"/>
                </a:cxn>
                <a:cxn ang="0">
                  <a:pos x="131" y="203"/>
                </a:cxn>
                <a:cxn ang="0">
                  <a:pos x="103" y="207"/>
                </a:cxn>
                <a:cxn ang="0">
                  <a:pos x="75" y="203"/>
                </a:cxn>
                <a:cxn ang="0">
                  <a:pos x="51" y="192"/>
                </a:cxn>
                <a:cxn ang="0">
                  <a:pos x="30" y="176"/>
                </a:cxn>
                <a:cxn ang="0">
                  <a:pos x="14" y="155"/>
                </a:cxn>
                <a:cxn ang="0">
                  <a:pos x="4" y="131"/>
                </a:cxn>
                <a:cxn ang="0">
                  <a:pos x="0" y="103"/>
                </a:cxn>
                <a:cxn ang="0">
                  <a:pos x="4" y="75"/>
                </a:cxn>
                <a:cxn ang="0">
                  <a:pos x="14" y="51"/>
                </a:cxn>
                <a:cxn ang="0">
                  <a:pos x="30" y="30"/>
                </a:cxn>
                <a:cxn ang="0">
                  <a:pos x="51" y="14"/>
                </a:cxn>
                <a:cxn ang="0">
                  <a:pos x="75" y="4"/>
                </a:cxn>
                <a:cxn ang="0">
                  <a:pos x="103" y="0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lnTo>
                    <a:pt x="131" y="4"/>
                  </a:lnTo>
                  <a:lnTo>
                    <a:pt x="154" y="14"/>
                  </a:lnTo>
                  <a:lnTo>
                    <a:pt x="176" y="30"/>
                  </a:lnTo>
                  <a:lnTo>
                    <a:pt x="191" y="51"/>
                  </a:lnTo>
                  <a:lnTo>
                    <a:pt x="202" y="75"/>
                  </a:lnTo>
                  <a:lnTo>
                    <a:pt x="206" y="103"/>
                  </a:lnTo>
                  <a:lnTo>
                    <a:pt x="202" y="131"/>
                  </a:lnTo>
                  <a:lnTo>
                    <a:pt x="191" y="155"/>
                  </a:lnTo>
                  <a:lnTo>
                    <a:pt x="176" y="176"/>
                  </a:lnTo>
                  <a:lnTo>
                    <a:pt x="154" y="192"/>
                  </a:lnTo>
                  <a:lnTo>
                    <a:pt x="131" y="203"/>
                  </a:lnTo>
                  <a:lnTo>
                    <a:pt x="103" y="207"/>
                  </a:lnTo>
                  <a:lnTo>
                    <a:pt x="75" y="203"/>
                  </a:lnTo>
                  <a:lnTo>
                    <a:pt x="51" y="192"/>
                  </a:lnTo>
                  <a:lnTo>
                    <a:pt x="30" y="176"/>
                  </a:lnTo>
                  <a:lnTo>
                    <a:pt x="14" y="155"/>
                  </a:lnTo>
                  <a:lnTo>
                    <a:pt x="4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4" y="51"/>
                  </a:lnTo>
                  <a:lnTo>
                    <a:pt x="30" y="30"/>
                  </a:lnTo>
                  <a:lnTo>
                    <a:pt x="51" y="14"/>
                  </a:lnTo>
                  <a:lnTo>
                    <a:pt x="75" y="4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/>
            <p:cNvSpPr>
              <a:spLocks/>
            </p:cNvSpPr>
            <p:nvPr/>
          </p:nvSpPr>
          <p:spPr bwMode="auto">
            <a:xfrm>
              <a:off x="8720137" y="2473325"/>
              <a:ext cx="1311275" cy="1514475"/>
            </a:xfrm>
            <a:custGeom>
              <a:avLst/>
              <a:gdLst/>
              <a:ahLst/>
              <a:cxnLst>
                <a:cxn ang="0">
                  <a:pos x="413" y="0"/>
                </a:cxn>
                <a:cxn ang="0">
                  <a:pos x="464" y="4"/>
                </a:cxn>
                <a:cxn ang="0">
                  <a:pos x="515" y="15"/>
                </a:cxn>
                <a:cxn ang="0">
                  <a:pos x="562" y="32"/>
                </a:cxn>
                <a:cxn ang="0">
                  <a:pos x="607" y="56"/>
                </a:cxn>
                <a:cxn ang="0">
                  <a:pos x="650" y="85"/>
                </a:cxn>
                <a:cxn ang="0">
                  <a:pos x="687" y="120"/>
                </a:cxn>
                <a:cxn ang="0">
                  <a:pos x="721" y="160"/>
                </a:cxn>
                <a:cxn ang="0">
                  <a:pos x="751" y="205"/>
                </a:cxn>
                <a:cxn ang="0">
                  <a:pos x="778" y="253"/>
                </a:cxn>
                <a:cxn ang="0">
                  <a:pos x="798" y="305"/>
                </a:cxn>
                <a:cxn ang="0">
                  <a:pos x="814" y="359"/>
                </a:cxn>
                <a:cxn ang="0">
                  <a:pos x="823" y="417"/>
                </a:cxn>
                <a:cxn ang="0">
                  <a:pos x="826" y="477"/>
                </a:cxn>
                <a:cxn ang="0">
                  <a:pos x="823" y="537"/>
                </a:cxn>
                <a:cxn ang="0">
                  <a:pos x="814" y="594"/>
                </a:cxn>
                <a:cxn ang="0">
                  <a:pos x="798" y="650"/>
                </a:cxn>
                <a:cxn ang="0">
                  <a:pos x="778" y="702"/>
                </a:cxn>
                <a:cxn ang="0">
                  <a:pos x="751" y="750"/>
                </a:cxn>
                <a:cxn ang="0">
                  <a:pos x="721" y="793"/>
                </a:cxn>
                <a:cxn ang="0">
                  <a:pos x="687" y="833"/>
                </a:cxn>
                <a:cxn ang="0">
                  <a:pos x="650" y="869"/>
                </a:cxn>
                <a:cxn ang="0">
                  <a:pos x="607" y="898"/>
                </a:cxn>
                <a:cxn ang="0">
                  <a:pos x="562" y="922"/>
                </a:cxn>
                <a:cxn ang="0">
                  <a:pos x="515" y="939"/>
                </a:cxn>
                <a:cxn ang="0">
                  <a:pos x="464" y="950"/>
                </a:cxn>
                <a:cxn ang="0">
                  <a:pos x="413" y="954"/>
                </a:cxn>
                <a:cxn ang="0">
                  <a:pos x="361" y="950"/>
                </a:cxn>
                <a:cxn ang="0">
                  <a:pos x="311" y="939"/>
                </a:cxn>
                <a:cxn ang="0">
                  <a:pos x="263" y="922"/>
                </a:cxn>
                <a:cxn ang="0">
                  <a:pos x="218" y="898"/>
                </a:cxn>
                <a:cxn ang="0">
                  <a:pos x="176" y="869"/>
                </a:cxn>
                <a:cxn ang="0">
                  <a:pos x="139" y="833"/>
                </a:cxn>
                <a:cxn ang="0">
                  <a:pos x="105" y="793"/>
                </a:cxn>
                <a:cxn ang="0">
                  <a:pos x="74" y="750"/>
                </a:cxn>
                <a:cxn ang="0">
                  <a:pos x="48" y="702"/>
                </a:cxn>
                <a:cxn ang="0">
                  <a:pos x="28" y="650"/>
                </a:cxn>
                <a:cxn ang="0">
                  <a:pos x="12" y="594"/>
                </a:cxn>
                <a:cxn ang="0">
                  <a:pos x="3" y="537"/>
                </a:cxn>
                <a:cxn ang="0">
                  <a:pos x="0" y="477"/>
                </a:cxn>
                <a:cxn ang="0">
                  <a:pos x="3" y="417"/>
                </a:cxn>
                <a:cxn ang="0">
                  <a:pos x="12" y="359"/>
                </a:cxn>
                <a:cxn ang="0">
                  <a:pos x="28" y="305"/>
                </a:cxn>
                <a:cxn ang="0">
                  <a:pos x="48" y="253"/>
                </a:cxn>
                <a:cxn ang="0">
                  <a:pos x="74" y="205"/>
                </a:cxn>
                <a:cxn ang="0">
                  <a:pos x="105" y="160"/>
                </a:cxn>
                <a:cxn ang="0">
                  <a:pos x="139" y="120"/>
                </a:cxn>
                <a:cxn ang="0">
                  <a:pos x="176" y="85"/>
                </a:cxn>
                <a:cxn ang="0">
                  <a:pos x="218" y="56"/>
                </a:cxn>
                <a:cxn ang="0">
                  <a:pos x="263" y="32"/>
                </a:cxn>
                <a:cxn ang="0">
                  <a:pos x="311" y="15"/>
                </a:cxn>
                <a:cxn ang="0">
                  <a:pos x="361" y="4"/>
                </a:cxn>
                <a:cxn ang="0">
                  <a:pos x="413" y="0"/>
                </a:cxn>
              </a:cxnLst>
              <a:rect l="0" t="0" r="r" b="b"/>
              <a:pathLst>
                <a:path w="826" h="954">
                  <a:moveTo>
                    <a:pt x="413" y="0"/>
                  </a:moveTo>
                  <a:lnTo>
                    <a:pt x="464" y="4"/>
                  </a:lnTo>
                  <a:lnTo>
                    <a:pt x="515" y="15"/>
                  </a:lnTo>
                  <a:lnTo>
                    <a:pt x="562" y="32"/>
                  </a:lnTo>
                  <a:lnTo>
                    <a:pt x="607" y="56"/>
                  </a:lnTo>
                  <a:lnTo>
                    <a:pt x="650" y="85"/>
                  </a:lnTo>
                  <a:lnTo>
                    <a:pt x="687" y="120"/>
                  </a:lnTo>
                  <a:lnTo>
                    <a:pt x="721" y="160"/>
                  </a:lnTo>
                  <a:lnTo>
                    <a:pt x="751" y="205"/>
                  </a:lnTo>
                  <a:lnTo>
                    <a:pt x="778" y="253"/>
                  </a:lnTo>
                  <a:lnTo>
                    <a:pt x="798" y="305"/>
                  </a:lnTo>
                  <a:lnTo>
                    <a:pt x="814" y="359"/>
                  </a:lnTo>
                  <a:lnTo>
                    <a:pt x="823" y="417"/>
                  </a:lnTo>
                  <a:lnTo>
                    <a:pt x="826" y="477"/>
                  </a:lnTo>
                  <a:lnTo>
                    <a:pt x="823" y="537"/>
                  </a:lnTo>
                  <a:lnTo>
                    <a:pt x="814" y="594"/>
                  </a:lnTo>
                  <a:lnTo>
                    <a:pt x="798" y="650"/>
                  </a:lnTo>
                  <a:lnTo>
                    <a:pt x="778" y="702"/>
                  </a:lnTo>
                  <a:lnTo>
                    <a:pt x="751" y="750"/>
                  </a:lnTo>
                  <a:lnTo>
                    <a:pt x="721" y="793"/>
                  </a:lnTo>
                  <a:lnTo>
                    <a:pt x="687" y="833"/>
                  </a:lnTo>
                  <a:lnTo>
                    <a:pt x="650" y="869"/>
                  </a:lnTo>
                  <a:lnTo>
                    <a:pt x="607" y="898"/>
                  </a:lnTo>
                  <a:lnTo>
                    <a:pt x="562" y="922"/>
                  </a:lnTo>
                  <a:lnTo>
                    <a:pt x="515" y="939"/>
                  </a:lnTo>
                  <a:lnTo>
                    <a:pt x="464" y="950"/>
                  </a:lnTo>
                  <a:lnTo>
                    <a:pt x="413" y="954"/>
                  </a:lnTo>
                  <a:lnTo>
                    <a:pt x="361" y="950"/>
                  </a:lnTo>
                  <a:lnTo>
                    <a:pt x="311" y="939"/>
                  </a:lnTo>
                  <a:lnTo>
                    <a:pt x="263" y="922"/>
                  </a:lnTo>
                  <a:lnTo>
                    <a:pt x="218" y="898"/>
                  </a:lnTo>
                  <a:lnTo>
                    <a:pt x="176" y="869"/>
                  </a:lnTo>
                  <a:lnTo>
                    <a:pt x="139" y="833"/>
                  </a:lnTo>
                  <a:lnTo>
                    <a:pt x="105" y="793"/>
                  </a:lnTo>
                  <a:lnTo>
                    <a:pt x="74" y="750"/>
                  </a:lnTo>
                  <a:lnTo>
                    <a:pt x="48" y="702"/>
                  </a:lnTo>
                  <a:lnTo>
                    <a:pt x="28" y="650"/>
                  </a:lnTo>
                  <a:lnTo>
                    <a:pt x="12" y="594"/>
                  </a:lnTo>
                  <a:lnTo>
                    <a:pt x="3" y="537"/>
                  </a:lnTo>
                  <a:lnTo>
                    <a:pt x="0" y="477"/>
                  </a:lnTo>
                  <a:lnTo>
                    <a:pt x="3" y="417"/>
                  </a:lnTo>
                  <a:lnTo>
                    <a:pt x="12" y="359"/>
                  </a:lnTo>
                  <a:lnTo>
                    <a:pt x="28" y="305"/>
                  </a:lnTo>
                  <a:lnTo>
                    <a:pt x="48" y="253"/>
                  </a:lnTo>
                  <a:lnTo>
                    <a:pt x="74" y="205"/>
                  </a:lnTo>
                  <a:lnTo>
                    <a:pt x="105" y="160"/>
                  </a:lnTo>
                  <a:lnTo>
                    <a:pt x="139" y="120"/>
                  </a:lnTo>
                  <a:lnTo>
                    <a:pt x="176" y="85"/>
                  </a:lnTo>
                  <a:lnTo>
                    <a:pt x="218" y="56"/>
                  </a:lnTo>
                  <a:lnTo>
                    <a:pt x="263" y="32"/>
                  </a:lnTo>
                  <a:lnTo>
                    <a:pt x="311" y="15"/>
                  </a:lnTo>
                  <a:lnTo>
                    <a:pt x="361" y="4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/>
            <p:cNvSpPr>
              <a:spLocks noEditPoints="1"/>
            </p:cNvSpPr>
            <p:nvPr/>
          </p:nvSpPr>
          <p:spPr bwMode="auto">
            <a:xfrm>
              <a:off x="9048749" y="2746375"/>
              <a:ext cx="627062" cy="992188"/>
            </a:xfrm>
            <a:custGeom>
              <a:avLst/>
              <a:gdLst/>
              <a:ahLst/>
              <a:cxnLst>
                <a:cxn ang="0">
                  <a:pos x="228" y="482"/>
                </a:cxn>
                <a:cxn ang="0">
                  <a:pos x="264" y="470"/>
                </a:cxn>
                <a:cxn ang="0">
                  <a:pos x="288" y="445"/>
                </a:cxn>
                <a:cxn ang="0">
                  <a:pos x="297" y="411"/>
                </a:cxn>
                <a:cxn ang="0">
                  <a:pos x="289" y="384"/>
                </a:cxn>
                <a:cxn ang="0">
                  <a:pos x="267" y="361"/>
                </a:cxn>
                <a:cxn ang="0">
                  <a:pos x="228" y="345"/>
                </a:cxn>
                <a:cxn ang="0">
                  <a:pos x="154" y="115"/>
                </a:cxn>
                <a:cxn ang="0">
                  <a:pos x="132" y="134"/>
                </a:cxn>
                <a:cxn ang="0">
                  <a:pos x="117" y="171"/>
                </a:cxn>
                <a:cxn ang="0">
                  <a:pos x="131" y="206"/>
                </a:cxn>
                <a:cxn ang="0">
                  <a:pos x="153" y="224"/>
                </a:cxn>
                <a:cxn ang="0">
                  <a:pos x="169" y="110"/>
                </a:cxn>
                <a:cxn ang="0">
                  <a:pos x="228" y="0"/>
                </a:cxn>
                <a:cxn ang="0">
                  <a:pos x="259" y="38"/>
                </a:cxn>
                <a:cxn ang="0">
                  <a:pos x="309" y="57"/>
                </a:cxn>
                <a:cxn ang="0">
                  <a:pos x="347" y="89"/>
                </a:cxn>
                <a:cxn ang="0">
                  <a:pos x="373" y="130"/>
                </a:cxn>
                <a:cxn ang="0">
                  <a:pos x="277" y="167"/>
                </a:cxn>
                <a:cxn ang="0">
                  <a:pos x="260" y="133"/>
                </a:cxn>
                <a:cxn ang="0">
                  <a:pos x="228" y="111"/>
                </a:cxn>
                <a:cxn ang="0">
                  <a:pos x="273" y="260"/>
                </a:cxn>
                <a:cxn ang="0">
                  <a:pos x="339" y="289"/>
                </a:cxn>
                <a:cxn ang="0">
                  <a:pos x="377" y="326"/>
                </a:cxn>
                <a:cxn ang="0">
                  <a:pos x="392" y="373"/>
                </a:cxn>
                <a:cxn ang="0">
                  <a:pos x="392" y="430"/>
                </a:cxn>
                <a:cxn ang="0">
                  <a:pos x="370" y="483"/>
                </a:cxn>
                <a:cxn ang="0">
                  <a:pos x="328" y="526"/>
                </a:cxn>
                <a:cxn ang="0">
                  <a:pos x="265" y="552"/>
                </a:cxn>
                <a:cxn ang="0">
                  <a:pos x="228" y="625"/>
                </a:cxn>
                <a:cxn ang="0">
                  <a:pos x="169" y="562"/>
                </a:cxn>
                <a:cxn ang="0">
                  <a:pos x="107" y="547"/>
                </a:cxn>
                <a:cxn ang="0">
                  <a:pos x="56" y="516"/>
                </a:cxn>
                <a:cxn ang="0">
                  <a:pos x="19" y="471"/>
                </a:cxn>
                <a:cxn ang="0">
                  <a:pos x="0" y="409"/>
                </a:cxn>
                <a:cxn ang="0">
                  <a:pos x="111" y="417"/>
                </a:cxn>
                <a:cxn ang="0">
                  <a:pos x="131" y="447"/>
                </a:cxn>
                <a:cxn ang="0">
                  <a:pos x="156" y="470"/>
                </a:cxn>
                <a:cxn ang="0">
                  <a:pos x="169" y="330"/>
                </a:cxn>
                <a:cxn ang="0">
                  <a:pos x="101" y="305"/>
                </a:cxn>
                <a:cxn ang="0">
                  <a:pos x="54" y="271"/>
                </a:cxn>
                <a:cxn ang="0">
                  <a:pos x="26" y="227"/>
                </a:cxn>
                <a:cxn ang="0">
                  <a:pos x="17" y="175"/>
                </a:cxn>
                <a:cxn ang="0">
                  <a:pos x="27" y="122"/>
                </a:cxn>
                <a:cxn ang="0">
                  <a:pos x="58" y="78"/>
                </a:cxn>
                <a:cxn ang="0">
                  <a:pos x="107" y="48"/>
                </a:cxn>
                <a:cxn ang="0">
                  <a:pos x="169" y="34"/>
                </a:cxn>
              </a:cxnLst>
              <a:rect l="0" t="0" r="r" b="b"/>
              <a:pathLst>
                <a:path w="395" h="625">
                  <a:moveTo>
                    <a:pt x="228" y="345"/>
                  </a:moveTo>
                  <a:lnTo>
                    <a:pt x="228" y="482"/>
                  </a:lnTo>
                  <a:lnTo>
                    <a:pt x="247" y="478"/>
                  </a:lnTo>
                  <a:lnTo>
                    <a:pt x="264" y="470"/>
                  </a:lnTo>
                  <a:lnTo>
                    <a:pt x="277" y="458"/>
                  </a:lnTo>
                  <a:lnTo>
                    <a:pt x="288" y="445"/>
                  </a:lnTo>
                  <a:lnTo>
                    <a:pt x="295" y="429"/>
                  </a:lnTo>
                  <a:lnTo>
                    <a:pt x="297" y="411"/>
                  </a:lnTo>
                  <a:lnTo>
                    <a:pt x="296" y="397"/>
                  </a:lnTo>
                  <a:lnTo>
                    <a:pt x="289" y="384"/>
                  </a:lnTo>
                  <a:lnTo>
                    <a:pt x="280" y="372"/>
                  </a:lnTo>
                  <a:lnTo>
                    <a:pt x="267" y="361"/>
                  </a:lnTo>
                  <a:lnTo>
                    <a:pt x="250" y="353"/>
                  </a:lnTo>
                  <a:lnTo>
                    <a:pt x="228" y="345"/>
                  </a:lnTo>
                  <a:close/>
                  <a:moveTo>
                    <a:pt x="169" y="110"/>
                  </a:moveTo>
                  <a:lnTo>
                    <a:pt x="154" y="115"/>
                  </a:lnTo>
                  <a:lnTo>
                    <a:pt x="142" y="123"/>
                  </a:lnTo>
                  <a:lnTo>
                    <a:pt x="132" y="134"/>
                  </a:lnTo>
                  <a:lnTo>
                    <a:pt x="121" y="151"/>
                  </a:lnTo>
                  <a:lnTo>
                    <a:pt x="117" y="171"/>
                  </a:lnTo>
                  <a:lnTo>
                    <a:pt x="120" y="188"/>
                  </a:lnTo>
                  <a:lnTo>
                    <a:pt x="131" y="206"/>
                  </a:lnTo>
                  <a:lnTo>
                    <a:pt x="140" y="215"/>
                  </a:lnTo>
                  <a:lnTo>
                    <a:pt x="153" y="224"/>
                  </a:lnTo>
                  <a:lnTo>
                    <a:pt x="169" y="231"/>
                  </a:lnTo>
                  <a:lnTo>
                    <a:pt x="169" y="110"/>
                  </a:lnTo>
                  <a:close/>
                  <a:moveTo>
                    <a:pt x="169" y="0"/>
                  </a:moveTo>
                  <a:lnTo>
                    <a:pt x="228" y="0"/>
                  </a:lnTo>
                  <a:lnTo>
                    <a:pt x="228" y="34"/>
                  </a:lnTo>
                  <a:lnTo>
                    <a:pt x="259" y="38"/>
                  </a:lnTo>
                  <a:lnTo>
                    <a:pt x="285" y="46"/>
                  </a:lnTo>
                  <a:lnTo>
                    <a:pt x="309" y="57"/>
                  </a:lnTo>
                  <a:lnTo>
                    <a:pt x="330" y="71"/>
                  </a:lnTo>
                  <a:lnTo>
                    <a:pt x="347" y="89"/>
                  </a:lnTo>
                  <a:lnTo>
                    <a:pt x="362" y="109"/>
                  </a:lnTo>
                  <a:lnTo>
                    <a:pt x="373" y="130"/>
                  </a:lnTo>
                  <a:lnTo>
                    <a:pt x="379" y="155"/>
                  </a:lnTo>
                  <a:lnTo>
                    <a:pt x="277" y="167"/>
                  </a:lnTo>
                  <a:lnTo>
                    <a:pt x="271" y="149"/>
                  </a:lnTo>
                  <a:lnTo>
                    <a:pt x="260" y="133"/>
                  </a:lnTo>
                  <a:lnTo>
                    <a:pt x="247" y="121"/>
                  </a:lnTo>
                  <a:lnTo>
                    <a:pt x="228" y="111"/>
                  </a:lnTo>
                  <a:lnTo>
                    <a:pt x="228" y="248"/>
                  </a:lnTo>
                  <a:lnTo>
                    <a:pt x="273" y="260"/>
                  </a:lnTo>
                  <a:lnTo>
                    <a:pt x="310" y="273"/>
                  </a:lnTo>
                  <a:lnTo>
                    <a:pt x="339" y="289"/>
                  </a:lnTo>
                  <a:lnTo>
                    <a:pt x="361" y="307"/>
                  </a:lnTo>
                  <a:lnTo>
                    <a:pt x="377" y="326"/>
                  </a:lnTo>
                  <a:lnTo>
                    <a:pt x="387" y="348"/>
                  </a:lnTo>
                  <a:lnTo>
                    <a:pt x="392" y="373"/>
                  </a:lnTo>
                  <a:lnTo>
                    <a:pt x="395" y="400"/>
                  </a:lnTo>
                  <a:lnTo>
                    <a:pt x="392" y="430"/>
                  </a:lnTo>
                  <a:lnTo>
                    <a:pt x="384" y="458"/>
                  </a:lnTo>
                  <a:lnTo>
                    <a:pt x="370" y="483"/>
                  </a:lnTo>
                  <a:lnTo>
                    <a:pt x="351" y="506"/>
                  </a:lnTo>
                  <a:lnTo>
                    <a:pt x="328" y="526"/>
                  </a:lnTo>
                  <a:lnTo>
                    <a:pt x="298" y="540"/>
                  </a:lnTo>
                  <a:lnTo>
                    <a:pt x="265" y="552"/>
                  </a:lnTo>
                  <a:lnTo>
                    <a:pt x="228" y="559"/>
                  </a:lnTo>
                  <a:lnTo>
                    <a:pt x="228" y="625"/>
                  </a:lnTo>
                  <a:lnTo>
                    <a:pt x="169" y="625"/>
                  </a:lnTo>
                  <a:lnTo>
                    <a:pt x="169" y="562"/>
                  </a:lnTo>
                  <a:lnTo>
                    <a:pt x="136" y="556"/>
                  </a:lnTo>
                  <a:lnTo>
                    <a:pt x="107" y="547"/>
                  </a:lnTo>
                  <a:lnTo>
                    <a:pt x="80" y="534"/>
                  </a:lnTo>
                  <a:lnTo>
                    <a:pt x="56" y="516"/>
                  </a:lnTo>
                  <a:lnTo>
                    <a:pt x="37" y="495"/>
                  </a:lnTo>
                  <a:lnTo>
                    <a:pt x="19" y="471"/>
                  </a:lnTo>
                  <a:lnTo>
                    <a:pt x="8" y="442"/>
                  </a:lnTo>
                  <a:lnTo>
                    <a:pt x="0" y="409"/>
                  </a:lnTo>
                  <a:lnTo>
                    <a:pt x="105" y="400"/>
                  </a:lnTo>
                  <a:lnTo>
                    <a:pt x="111" y="417"/>
                  </a:lnTo>
                  <a:lnTo>
                    <a:pt x="120" y="433"/>
                  </a:lnTo>
                  <a:lnTo>
                    <a:pt x="131" y="447"/>
                  </a:lnTo>
                  <a:lnTo>
                    <a:pt x="142" y="459"/>
                  </a:lnTo>
                  <a:lnTo>
                    <a:pt x="156" y="470"/>
                  </a:lnTo>
                  <a:lnTo>
                    <a:pt x="169" y="477"/>
                  </a:lnTo>
                  <a:lnTo>
                    <a:pt x="169" y="330"/>
                  </a:lnTo>
                  <a:lnTo>
                    <a:pt x="132" y="320"/>
                  </a:lnTo>
                  <a:lnTo>
                    <a:pt x="101" y="305"/>
                  </a:lnTo>
                  <a:lnTo>
                    <a:pt x="75" y="289"/>
                  </a:lnTo>
                  <a:lnTo>
                    <a:pt x="54" y="271"/>
                  </a:lnTo>
                  <a:lnTo>
                    <a:pt x="38" y="251"/>
                  </a:lnTo>
                  <a:lnTo>
                    <a:pt x="26" y="227"/>
                  </a:lnTo>
                  <a:lnTo>
                    <a:pt x="19" y="202"/>
                  </a:lnTo>
                  <a:lnTo>
                    <a:pt x="17" y="175"/>
                  </a:lnTo>
                  <a:lnTo>
                    <a:pt x="19" y="147"/>
                  </a:lnTo>
                  <a:lnTo>
                    <a:pt x="27" y="122"/>
                  </a:lnTo>
                  <a:lnTo>
                    <a:pt x="39" y="99"/>
                  </a:lnTo>
                  <a:lnTo>
                    <a:pt x="58" y="78"/>
                  </a:lnTo>
                  <a:lnTo>
                    <a:pt x="80" y="61"/>
                  </a:lnTo>
                  <a:lnTo>
                    <a:pt x="107" y="48"/>
                  </a:lnTo>
                  <a:lnTo>
                    <a:pt x="136" y="40"/>
                  </a:lnTo>
                  <a:lnTo>
                    <a:pt x="169" y="34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Group 30"/>
          <p:cNvGrpSpPr/>
          <p:nvPr/>
        </p:nvGrpSpPr>
        <p:grpSpPr>
          <a:xfrm rot="20256524">
            <a:off x="1256297" y="2482994"/>
            <a:ext cx="4854575" cy="2338388"/>
            <a:chOff x="6948488" y="2060575"/>
            <a:chExt cx="4854575" cy="2338388"/>
          </a:xfrm>
        </p:grpSpPr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6948488" y="2060575"/>
              <a:ext cx="4854575" cy="2338388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4"/>
            <p:cNvSpPr>
              <a:spLocks/>
            </p:cNvSpPr>
            <p:nvPr/>
          </p:nvSpPr>
          <p:spPr bwMode="auto">
            <a:xfrm>
              <a:off x="7162799" y="2209800"/>
              <a:ext cx="2208212" cy="2041525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391" y="0"/>
                </a:cxn>
                <a:cxn ang="0">
                  <a:pos x="1391" y="1286"/>
                </a:cxn>
                <a:cxn ang="0">
                  <a:pos x="225" y="1286"/>
                </a:cxn>
                <a:cxn ang="0">
                  <a:pos x="209" y="1237"/>
                </a:cxn>
                <a:cxn ang="0">
                  <a:pos x="186" y="1192"/>
                </a:cxn>
                <a:cxn ang="0">
                  <a:pos x="159" y="1151"/>
                </a:cxn>
                <a:cxn ang="0">
                  <a:pos x="126" y="1113"/>
                </a:cxn>
                <a:cxn ang="0">
                  <a:pos x="87" y="1080"/>
                </a:cxn>
                <a:cxn ang="0">
                  <a:pos x="45" y="1052"/>
                </a:cxn>
                <a:cxn ang="0">
                  <a:pos x="0" y="1031"/>
                </a:cxn>
                <a:cxn ang="0">
                  <a:pos x="0" y="254"/>
                </a:cxn>
                <a:cxn ang="0">
                  <a:pos x="45" y="233"/>
                </a:cxn>
                <a:cxn ang="0">
                  <a:pos x="87" y="206"/>
                </a:cxn>
                <a:cxn ang="0">
                  <a:pos x="126" y="173"/>
                </a:cxn>
                <a:cxn ang="0">
                  <a:pos x="159" y="136"/>
                </a:cxn>
                <a:cxn ang="0">
                  <a:pos x="186" y="95"/>
                </a:cxn>
                <a:cxn ang="0">
                  <a:pos x="209" y="50"/>
                </a:cxn>
                <a:cxn ang="0">
                  <a:pos x="225" y="0"/>
                </a:cxn>
              </a:cxnLst>
              <a:rect l="0" t="0" r="r" b="b"/>
              <a:pathLst>
                <a:path w="1391" h="1286">
                  <a:moveTo>
                    <a:pt x="225" y="0"/>
                  </a:moveTo>
                  <a:lnTo>
                    <a:pt x="1391" y="0"/>
                  </a:lnTo>
                  <a:lnTo>
                    <a:pt x="1391" y="1286"/>
                  </a:lnTo>
                  <a:lnTo>
                    <a:pt x="225" y="1286"/>
                  </a:lnTo>
                  <a:lnTo>
                    <a:pt x="209" y="1237"/>
                  </a:lnTo>
                  <a:lnTo>
                    <a:pt x="186" y="1192"/>
                  </a:lnTo>
                  <a:lnTo>
                    <a:pt x="159" y="1151"/>
                  </a:lnTo>
                  <a:lnTo>
                    <a:pt x="126" y="1113"/>
                  </a:lnTo>
                  <a:lnTo>
                    <a:pt x="87" y="1080"/>
                  </a:lnTo>
                  <a:lnTo>
                    <a:pt x="45" y="1052"/>
                  </a:lnTo>
                  <a:lnTo>
                    <a:pt x="0" y="1031"/>
                  </a:lnTo>
                  <a:lnTo>
                    <a:pt x="0" y="254"/>
                  </a:lnTo>
                  <a:lnTo>
                    <a:pt x="45" y="233"/>
                  </a:lnTo>
                  <a:lnTo>
                    <a:pt x="87" y="206"/>
                  </a:lnTo>
                  <a:lnTo>
                    <a:pt x="126" y="173"/>
                  </a:lnTo>
                  <a:lnTo>
                    <a:pt x="159" y="136"/>
                  </a:lnTo>
                  <a:lnTo>
                    <a:pt x="186" y="95"/>
                  </a:lnTo>
                  <a:lnTo>
                    <a:pt x="209" y="50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5"/>
            <p:cNvSpPr>
              <a:spLocks/>
            </p:cNvSpPr>
            <p:nvPr/>
          </p:nvSpPr>
          <p:spPr bwMode="auto">
            <a:xfrm>
              <a:off x="9371012" y="2209800"/>
              <a:ext cx="2217737" cy="2041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69" y="0"/>
                </a:cxn>
                <a:cxn ang="0">
                  <a:pos x="1185" y="51"/>
                </a:cxn>
                <a:cxn ang="0">
                  <a:pos x="1206" y="97"/>
                </a:cxn>
                <a:cxn ang="0">
                  <a:pos x="1234" y="141"/>
                </a:cxn>
                <a:cxn ang="0">
                  <a:pos x="1269" y="180"/>
                </a:cxn>
                <a:cxn ang="0">
                  <a:pos x="1307" y="214"/>
                </a:cxn>
                <a:cxn ang="0">
                  <a:pos x="1349" y="242"/>
                </a:cxn>
                <a:cxn ang="0">
                  <a:pos x="1397" y="265"/>
                </a:cxn>
                <a:cxn ang="0">
                  <a:pos x="1397" y="1031"/>
                </a:cxn>
                <a:cxn ang="0">
                  <a:pos x="1352" y="1052"/>
                </a:cxn>
                <a:cxn ang="0">
                  <a:pos x="1310" y="1080"/>
                </a:cxn>
                <a:cxn ang="0">
                  <a:pos x="1271" y="1113"/>
                </a:cxn>
                <a:cxn ang="0">
                  <a:pos x="1238" y="1151"/>
                </a:cxn>
                <a:cxn ang="0">
                  <a:pos x="1210" y="1192"/>
                </a:cxn>
                <a:cxn ang="0">
                  <a:pos x="1188" y="1237"/>
                </a:cxn>
                <a:cxn ang="0">
                  <a:pos x="1172" y="1286"/>
                </a:cxn>
                <a:cxn ang="0">
                  <a:pos x="0" y="1286"/>
                </a:cxn>
                <a:cxn ang="0">
                  <a:pos x="0" y="0"/>
                </a:cxn>
              </a:cxnLst>
              <a:rect l="0" t="0" r="r" b="b"/>
              <a:pathLst>
                <a:path w="1397" h="1286">
                  <a:moveTo>
                    <a:pt x="0" y="0"/>
                  </a:moveTo>
                  <a:lnTo>
                    <a:pt x="1169" y="0"/>
                  </a:lnTo>
                  <a:lnTo>
                    <a:pt x="1185" y="51"/>
                  </a:lnTo>
                  <a:lnTo>
                    <a:pt x="1206" y="97"/>
                  </a:lnTo>
                  <a:lnTo>
                    <a:pt x="1234" y="141"/>
                  </a:lnTo>
                  <a:lnTo>
                    <a:pt x="1269" y="180"/>
                  </a:lnTo>
                  <a:lnTo>
                    <a:pt x="1307" y="214"/>
                  </a:lnTo>
                  <a:lnTo>
                    <a:pt x="1349" y="242"/>
                  </a:lnTo>
                  <a:lnTo>
                    <a:pt x="1397" y="265"/>
                  </a:lnTo>
                  <a:lnTo>
                    <a:pt x="1397" y="1031"/>
                  </a:lnTo>
                  <a:lnTo>
                    <a:pt x="1352" y="1052"/>
                  </a:lnTo>
                  <a:lnTo>
                    <a:pt x="1310" y="1080"/>
                  </a:lnTo>
                  <a:lnTo>
                    <a:pt x="1271" y="1113"/>
                  </a:lnTo>
                  <a:lnTo>
                    <a:pt x="1238" y="1151"/>
                  </a:lnTo>
                  <a:lnTo>
                    <a:pt x="1210" y="1192"/>
                  </a:lnTo>
                  <a:lnTo>
                    <a:pt x="1188" y="1237"/>
                  </a:lnTo>
                  <a:lnTo>
                    <a:pt x="1172" y="1286"/>
                  </a:lnTo>
                  <a:lnTo>
                    <a:pt x="0" y="12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6"/>
            <p:cNvSpPr>
              <a:spLocks/>
            </p:cNvSpPr>
            <p:nvPr/>
          </p:nvSpPr>
          <p:spPr bwMode="auto">
            <a:xfrm>
              <a:off x="8015287" y="3067050"/>
              <a:ext cx="327025" cy="32861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31" y="4"/>
                </a:cxn>
                <a:cxn ang="0">
                  <a:pos x="155" y="14"/>
                </a:cxn>
                <a:cxn ang="0">
                  <a:pos x="176" y="30"/>
                </a:cxn>
                <a:cxn ang="0">
                  <a:pos x="192" y="51"/>
                </a:cxn>
                <a:cxn ang="0">
                  <a:pos x="202" y="75"/>
                </a:cxn>
                <a:cxn ang="0">
                  <a:pos x="206" y="103"/>
                </a:cxn>
                <a:cxn ang="0">
                  <a:pos x="202" y="131"/>
                </a:cxn>
                <a:cxn ang="0">
                  <a:pos x="192" y="155"/>
                </a:cxn>
                <a:cxn ang="0">
                  <a:pos x="176" y="176"/>
                </a:cxn>
                <a:cxn ang="0">
                  <a:pos x="155" y="192"/>
                </a:cxn>
                <a:cxn ang="0">
                  <a:pos x="131" y="203"/>
                </a:cxn>
                <a:cxn ang="0">
                  <a:pos x="103" y="207"/>
                </a:cxn>
                <a:cxn ang="0">
                  <a:pos x="75" y="203"/>
                </a:cxn>
                <a:cxn ang="0">
                  <a:pos x="51" y="192"/>
                </a:cxn>
                <a:cxn ang="0">
                  <a:pos x="30" y="176"/>
                </a:cxn>
                <a:cxn ang="0">
                  <a:pos x="14" y="155"/>
                </a:cxn>
                <a:cxn ang="0">
                  <a:pos x="4" y="131"/>
                </a:cxn>
                <a:cxn ang="0">
                  <a:pos x="0" y="103"/>
                </a:cxn>
                <a:cxn ang="0">
                  <a:pos x="4" y="75"/>
                </a:cxn>
                <a:cxn ang="0">
                  <a:pos x="14" y="51"/>
                </a:cxn>
                <a:cxn ang="0">
                  <a:pos x="30" y="30"/>
                </a:cxn>
                <a:cxn ang="0">
                  <a:pos x="51" y="14"/>
                </a:cxn>
                <a:cxn ang="0">
                  <a:pos x="75" y="4"/>
                </a:cxn>
                <a:cxn ang="0">
                  <a:pos x="103" y="0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lnTo>
                    <a:pt x="131" y="4"/>
                  </a:lnTo>
                  <a:lnTo>
                    <a:pt x="155" y="14"/>
                  </a:lnTo>
                  <a:lnTo>
                    <a:pt x="176" y="30"/>
                  </a:lnTo>
                  <a:lnTo>
                    <a:pt x="192" y="51"/>
                  </a:lnTo>
                  <a:lnTo>
                    <a:pt x="202" y="75"/>
                  </a:lnTo>
                  <a:lnTo>
                    <a:pt x="206" y="103"/>
                  </a:lnTo>
                  <a:lnTo>
                    <a:pt x="202" y="131"/>
                  </a:lnTo>
                  <a:lnTo>
                    <a:pt x="192" y="155"/>
                  </a:lnTo>
                  <a:lnTo>
                    <a:pt x="176" y="176"/>
                  </a:lnTo>
                  <a:lnTo>
                    <a:pt x="155" y="192"/>
                  </a:lnTo>
                  <a:lnTo>
                    <a:pt x="131" y="203"/>
                  </a:lnTo>
                  <a:lnTo>
                    <a:pt x="103" y="207"/>
                  </a:lnTo>
                  <a:lnTo>
                    <a:pt x="75" y="203"/>
                  </a:lnTo>
                  <a:lnTo>
                    <a:pt x="51" y="192"/>
                  </a:lnTo>
                  <a:lnTo>
                    <a:pt x="30" y="176"/>
                  </a:lnTo>
                  <a:lnTo>
                    <a:pt x="14" y="155"/>
                  </a:lnTo>
                  <a:lnTo>
                    <a:pt x="4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4" y="51"/>
                  </a:lnTo>
                  <a:lnTo>
                    <a:pt x="30" y="30"/>
                  </a:lnTo>
                  <a:lnTo>
                    <a:pt x="51" y="14"/>
                  </a:lnTo>
                  <a:lnTo>
                    <a:pt x="75" y="4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7"/>
            <p:cNvSpPr>
              <a:spLocks/>
            </p:cNvSpPr>
            <p:nvPr/>
          </p:nvSpPr>
          <p:spPr bwMode="auto">
            <a:xfrm>
              <a:off x="10409237" y="3067050"/>
              <a:ext cx="327025" cy="32861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31" y="4"/>
                </a:cxn>
                <a:cxn ang="0">
                  <a:pos x="154" y="14"/>
                </a:cxn>
                <a:cxn ang="0">
                  <a:pos x="176" y="30"/>
                </a:cxn>
                <a:cxn ang="0">
                  <a:pos x="191" y="51"/>
                </a:cxn>
                <a:cxn ang="0">
                  <a:pos x="202" y="75"/>
                </a:cxn>
                <a:cxn ang="0">
                  <a:pos x="206" y="103"/>
                </a:cxn>
                <a:cxn ang="0">
                  <a:pos x="202" y="131"/>
                </a:cxn>
                <a:cxn ang="0">
                  <a:pos x="191" y="155"/>
                </a:cxn>
                <a:cxn ang="0">
                  <a:pos x="176" y="176"/>
                </a:cxn>
                <a:cxn ang="0">
                  <a:pos x="154" y="192"/>
                </a:cxn>
                <a:cxn ang="0">
                  <a:pos x="131" y="203"/>
                </a:cxn>
                <a:cxn ang="0">
                  <a:pos x="103" y="207"/>
                </a:cxn>
                <a:cxn ang="0">
                  <a:pos x="75" y="203"/>
                </a:cxn>
                <a:cxn ang="0">
                  <a:pos x="51" y="192"/>
                </a:cxn>
                <a:cxn ang="0">
                  <a:pos x="30" y="176"/>
                </a:cxn>
                <a:cxn ang="0">
                  <a:pos x="14" y="155"/>
                </a:cxn>
                <a:cxn ang="0">
                  <a:pos x="4" y="131"/>
                </a:cxn>
                <a:cxn ang="0">
                  <a:pos x="0" y="103"/>
                </a:cxn>
                <a:cxn ang="0">
                  <a:pos x="4" y="75"/>
                </a:cxn>
                <a:cxn ang="0">
                  <a:pos x="14" y="51"/>
                </a:cxn>
                <a:cxn ang="0">
                  <a:pos x="30" y="30"/>
                </a:cxn>
                <a:cxn ang="0">
                  <a:pos x="51" y="14"/>
                </a:cxn>
                <a:cxn ang="0">
                  <a:pos x="75" y="4"/>
                </a:cxn>
                <a:cxn ang="0">
                  <a:pos x="103" y="0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lnTo>
                    <a:pt x="131" y="4"/>
                  </a:lnTo>
                  <a:lnTo>
                    <a:pt x="154" y="14"/>
                  </a:lnTo>
                  <a:lnTo>
                    <a:pt x="176" y="30"/>
                  </a:lnTo>
                  <a:lnTo>
                    <a:pt x="191" y="51"/>
                  </a:lnTo>
                  <a:lnTo>
                    <a:pt x="202" y="75"/>
                  </a:lnTo>
                  <a:lnTo>
                    <a:pt x="206" y="103"/>
                  </a:lnTo>
                  <a:lnTo>
                    <a:pt x="202" y="131"/>
                  </a:lnTo>
                  <a:lnTo>
                    <a:pt x="191" y="155"/>
                  </a:lnTo>
                  <a:lnTo>
                    <a:pt x="176" y="176"/>
                  </a:lnTo>
                  <a:lnTo>
                    <a:pt x="154" y="192"/>
                  </a:lnTo>
                  <a:lnTo>
                    <a:pt x="131" y="203"/>
                  </a:lnTo>
                  <a:lnTo>
                    <a:pt x="103" y="207"/>
                  </a:lnTo>
                  <a:lnTo>
                    <a:pt x="75" y="203"/>
                  </a:lnTo>
                  <a:lnTo>
                    <a:pt x="51" y="192"/>
                  </a:lnTo>
                  <a:lnTo>
                    <a:pt x="30" y="176"/>
                  </a:lnTo>
                  <a:lnTo>
                    <a:pt x="14" y="155"/>
                  </a:lnTo>
                  <a:lnTo>
                    <a:pt x="4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4" y="51"/>
                  </a:lnTo>
                  <a:lnTo>
                    <a:pt x="30" y="30"/>
                  </a:lnTo>
                  <a:lnTo>
                    <a:pt x="51" y="14"/>
                  </a:lnTo>
                  <a:lnTo>
                    <a:pt x="75" y="4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8720137" y="2473325"/>
              <a:ext cx="1311275" cy="1514475"/>
            </a:xfrm>
            <a:custGeom>
              <a:avLst/>
              <a:gdLst/>
              <a:ahLst/>
              <a:cxnLst>
                <a:cxn ang="0">
                  <a:pos x="413" y="0"/>
                </a:cxn>
                <a:cxn ang="0">
                  <a:pos x="464" y="4"/>
                </a:cxn>
                <a:cxn ang="0">
                  <a:pos x="515" y="15"/>
                </a:cxn>
                <a:cxn ang="0">
                  <a:pos x="562" y="32"/>
                </a:cxn>
                <a:cxn ang="0">
                  <a:pos x="607" y="56"/>
                </a:cxn>
                <a:cxn ang="0">
                  <a:pos x="650" y="85"/>
                </a:cxn>
                <a:cxn ang="0">
                  <a:pos x="687" y="120"/>
                </a:cxn>
                <a:cxn ang="0">
                  <a:pos x="721" y="160"/>
                </a:cxn>
                <a:cxn ang="0">
                  <a:pos x="751" y="205"/>
                </a:cxn>
                <a:cxn ang="0">
                  <a:pos x="778" y="253"/>
                </a:cxn>
                <a:cxn ang="0">
                  <a:pos x="798" y="305"/>
                </a:cxn>
                <a:cxn ang="0">
                  <a:pos x="814" y="359"/>
                </a:cxn>
                <a:cxn ang="0">
                  <a:pos x="823" y="417"/>
                </a:cxn>
                <a:cxn ang="0">
                  <a:pos x="826" y="477"/>
                </a:cxn>
                <a:cxn ang="0">
                  <a:pos x="823" y="537"/>
                </a:cxn>
                <a:cxn ang="0">
                  <a:pos x="814" y="594"/>
                </a:cxn>
                <a:cxn ang="0">
                  <a:pos x="798" y="650"/>
                </a:cxn>
                <a:cxn ang="0">
                  <a:pos x="778" y="702"/>
                </a:cxn>
                <a:cxn ang="0">
                  <a:pos x="751" y="750"/>
                </a:cxn>
                <a:cxn ang="0">
                  <a:pos x="721" y="793"/>
                </a:cxn>
                <a:cxn ang="0">
                  <a:pos x="687" y="833"/>
                </a:cxn>
                <a:cxn ang="0">
                  <a:pos x="650" y="869"/>
                </a:cxn>
                <a:cxn ang="0">
                  <a:pos x="607" y="898"/>
                </a:cxn>
                <a:cxn ang="0">
                  <a:pos x="562" y="922"/>
                </a:cxn>
                <a:cxn ang="0">
                  <a:pos x="515" y="939"/>
                </a:cxn>
                <a:cxn ang="0">
                  <a:pos x="464" y="950"/>
                </a:cxn>
                <a:cxn ang="0">
                  <a:pos x="413" y="954"/>
                </a:cxn>
                <a:cxn ang="0">
                  <a:pos x="361" y="950"/>
                </a:cxn>
                <a:cxn ang="0">
                  <a:pos x="311" y="939"/>
                </a:cxn>
                <a:cxn ang="0">
                  <a:pos x="263" y="922"/>
                </a:cxn>
                <a:cxn ang="0">
                  <a:pos x="218" y="898"/>
                </a:cxn>
                <a:cxn ang="0">
                  <a:pos x="176" y="869"/>
                </a:cxn>
                <a:cxn ang="0">
                  <a:pos x="139" y="833"/>
                </a:cxn>
                <a:cxn ang="0">
                  <a:pos x="105" y="793"/>
                </a:cxn>
                <a:cxn ang="0">
                  <a:pos x="74" y="750"/>
                </a:cxn>
                <a:cxn ang="0">
                  <a:pos x="48" y="702"/>
                </a:cxn>
                <a:cxn ang="0">
                  <a:pos x="28" y="650"/>
                </a:cxn>
                <a:cxn ang="0">
                  <a:pos x="12" y="594"/>
                </a:cxn>
                <a:cxn ang="0">
                  <a:pos x="3" y="537"/>
                </a:cxn>
                <a:cxn ang="0">
                  <a:pos x="0" y="477"/>
                </a:cxn>
                <a:cxn ang="0">
                  <a:pos x="3" y="417"/>
                </a:cxn>
                <a:cxn ang="0">
                  <a:pos x="12" y="359"/>
                </a:cxn>
                <a:cxn ang="0">
                  <a:pos x="28" y="305"/>
                </a:cxn>
                <a:cxn ang="0">
                  <a:pos x="48" y="253"/>
                </a:cxn>
                <a:cxn ang="0">
                  <a:pos x="74" y="205"/>
                </a:cxn>
                <a:cxn ang="0">
                  <a:pos x="105" y="160"/>
                </a:cxn>
                <a:cxn ang="0">
                  <a:pos x="139" y="120"/>
                </a:cxn>
                <a:cxn ang="0">
                  <a:pos x="176" y="85"/>
                </a:cxn>
                <a:cxn ang="0">
                  <a:pos x="218" y="56"/>
                </a:cxn>
                <a:cxn ang="0">
                  <a:pos x="263" y="32"/>
                </a:cxn>
                <a:cxn ang="0">
                  <a:pos x="311" y="15"/>
                </a:cxn>
                <a:cxn ang="0">
                  <a:pos x="361" y="4"/>
                </a:cxn>
                <a:cxn ang="0">
                  <a:pos x="413" y="0"/>
                </a:cxn>
              </a:cxnLst>
              <a:rect l="0" t="0" r="r" b="b"/>
              <a:pathLst>
                <a:path w="826" h="954">
                  <a:moveTo>
                    <a:pt x="413" y="0"/>
                  </a:moveTo>
                  <a:lnTo>
                    <a:pt x="464" y="4"/>
                  </a:lnTo>
                  <a:lnTo>
                    <a:pt x="515" y="15"/>
                  </a:lnTo>
                  <a:lnTo>
                    <a:pt x="562" y="32"/>
                  </a:lnTo>
                  <a:lnTo>
                    <a:pt x="607" y="56"/>
                  </a:lnTo>
                  <a:lnTo>
                    <a:pt x="650" y="85"/>
                  </a:lnTo>
                  <a:lnTo>
                    <a:pt x="687" y="120"/>
                  </a:lnTo>
                  <a:lnTo>
                    <a:pt x="721" y="160"/>
                  </a:lnTo>
                  <a:lnTo>
                    <a:pt x="751" y="205"/>
                  </a:lnTo>
                  <a:lnTo>
                    <a:pt x="778" y="253"/>
                  </a:lnTo>
                  <a:lnTo>
                    <a:pt x="798" y="305"/>
                  </a:lnTo>
                  <a:lnTo>
                    <a:pt x="814" y="359"/>
                  </a:lnTo>
                  <a:lnTo>
                    <a:pt x="823" y="417"/>
                  </a:lnTo>
                  <a:lnTo>
                    <a:pt x="826" y="477"/>
                  </a:lnTo>
                  <a:lnTo>
                    <a:pt x="823" y="537"/>
                  </a:lnTo>
                  <a:lnTo>
                    <a:pt x="814" y="594"/>
                  </a:lnTo>
                  <a:lnTo>
                    <a:pt x="798" y="650"/>
                  </a:lnTo>
                  <a:lnTo>
                    <a:pt x="778" y="702"/>
                  </a:lnTo>
                  <a:lnTo>
                    <a:pt x="751" y="750"/>
                  </a:lnTo>
                  <a:lnTo>
                    <a:pt x="721" y="793"/>
                  </a:lnTo>
                  <a:lnTo>
                    <a:pt x="687" y="833"/>
                  </a:lnTo>
                  <a:lnTo>
                    <a:pt x="650" y="869"/>
                  </a:lnTo>
                  <a:lnTo>
                    <a:pt x="607" y="898"/>
                  </a:lnTo>
                  <a:lnTo>
                    <a:pt x="562" y="922"/>
                  </a:lnTo>
                  <a:lnTo>
                    <a:pt x="515" y="939"/>
                  </a:lnTo>
                  <a:lnTo>
                    <a:pt x="464" y="950"/>
                  </a:lnTo>
                  <a:lnTo>
                    <a:pt x="413" y="954"/>
                  </a:lnTo>
                  <a:lnTo>
                    <a:pt x="361" y="950"/>
                  </a:lnTo>
                  <a:lnTo>
                    <a:pt x="311" y="939"/>
                  </a:lnTo>
                  <a:lnTo>
                    <a:pt x="263" y="922"/>
                  </a:lnTo>
                  <a:lnTo>
                    <a:pt x="218" y="898"/>
                  </a:lnTo>
                  <a:lnTo>
                    <a:pt x="176" y="869"/>
                  </a:lnTo>
                  <a:lnTo>
                    <a:pt x="139" y="833"/>
                  </a:lnTo>
                  <a:lnTo>
                    <a:pt x="105" y="793"/>
                  </a:lnTo>
                  <a:lnTo>
                    <a:pt x="74" y="750"/>
                  </a:lnTo>
                  <a:lnTo>
                    <a:pt x="48" y="702"/>
                  </a:lnTo>
                  <a:lnTo>
                    <a:pt x="28" y="650"/>
                  </a:lnTo>
                  <a:lnTo>
                    <a:pt x="12" y="594"/>
                  </a:lnTo>
                  <a:lnTo>
                    <a:pt x="3" y="537"/>
                  </a:lnTo>
                  <a:lnTo>
                    <a:pt x="0" y="477"/>
                  </a:lnTo>
                  <a:lnTo>
                    <a:pt x="3" y="417"/>
                  </a:lnTo>
                  <a:lnTo>
                    <a:pt x="12" y="359"/>
                  </a:lnTo>
                  <a:lnTo>
                    <a:pt x="28" y="305"/>
                  </a:lnTo>
                  <a:lnTo>
                    <a:pt x="48" y="253"/>
                  </a:lnTo>
                  <a:lnTo>
                    <a:pt x="74" y="205"/>
                  </a:lnTo>
                  <a:lnTo>
                    <a:pt x="105" y="160"/>
                  </a:lnTo>
                  <a:lnTo>
                    <a:pt x="139" y="120"/>
                  </a:lnTo>
                  <a:lnTo>
                    <a:pt x="176" y="85"/>
                  </a:lnTo>
                  <a:lnTo>
                    <a:pt x="218" y="56"/>
                  </a:lnTo>
                  <a:lnTo>
                    <a:pt x="263" y="32"/>
                  </a:lnTo>
                  <a:lnTo>
                    <a:pt x="311" y="15"/>
                  </a:lnTo>
                  <a:lnTo>
                    <a:pt x="361" y="4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9"/>
            <p:cNvSpPr>
              <a:spLocks noEditPoints="1"/>
            </p:cNvSpPr>
            <p:nvPr/>
          </p:nvSpPr>
          <p:spPr bwMode="auto">
            <a:xfrm>
              <a:off x="9048749" y="2746375"/>
              <a:ext cx="627062" cy="992188"/>
            </a:xfrm>
            <a:custGeom>
              <a:avLst/>
              <a:gdLst/>
              <a:ahLst/>
              <a:cxnLst>
                <a:cxn ang="0">
                  <a:pos x="228" y="482"/>
                </a:cxn>
                <a:cxn ang="0">
                  <a:pos x="264" y="470"/>
                </a:cxn>
                <a:cxn ang="0">
                  <a:pos x="288" y="445"/>
                </a:cxn>
                <a:cxn ang="0">
                  <a:pos x="297" y="411"/>
                </a:cxn>
                <a:cxn ang="0">
                  <a:pos x="289" y="384"/>
                </a:cxn>
                <a:cxn ang="0">
                  <a:pos x="267" y="361"/>
                </a:cxn>
                <a:cxn ang="0">
                  <a:pos x="228" y="345"/>
                </a:cxn>
                <a:cxn ang="0">
                  <a:pos x="154" y="115"/>
                </a:cxn>
                <a:cxn ang="0">
                  <a:pos x="132" y="134"/>
                </a:cxn>
                <a:cxn ang="0">
                  <a:pos x="117" y="171"/>
                </a:cxn>
                <a:cxn ang="0">
                  <a:pos x="131" y="206"/>
                </a:cxn>
                <a:cxn ang="0">
                  <a:pos x="153" y="224"/>
                </a:cxn>
                <a:cxn ang="0">
                  <a:pos x="169" y="110"/>
                </a:cxn>
                <a:cxn ang="0">
                  <a:pos x="228" y="0"/>
                </a:cxn>
                <a:cxn ang="0">
                  <a:pos x="259" y="38"/>
                </a:cxn>
                <a:cxn ang="0">
                  <a:pos x="309" y="57"/>
                </a:cxn>
                <a:cxn ang="0">
                  <a:pos x="347" y="89"/>
                </a:cxn>
                <a:cxn ang="0">
                  <a:pos x="373" y="130"/>
                </a:cxn>
                <a:cxn ang="0">
                  <a:pos x="277" y="167"/>
                </a:cxn>
                <a:cxn ang="0">
                  <a:pos x="260" y="133"/>
                </a:cxn>
                <a:cxn ang="0">
                  <a:pos x="228" y="111"/>
                </a:cxn>
                <a:cxn ang="0">
                  <a:pos x="273" y="260"/>
                </a:cxn>
                <a:cxn ang="0">
                  <a:pos x="339" y="289"/>
                </a:cxn>
                <a:cxn ang="0">
                  <a:pos x="377" y="326"/>
                </a:cxn>
                <a:cxn ang="0">
                  <a:pos x="392" y="373"/>
                </a:cxn>
                <a:cxn ang="0">
                  <a:pos x="392" y="430"/>
                </a:cxn>
                <a:cxn ang="0">
                  <a:pos x="370" y="483"/>
                </a:cxn>
                <a:cxn ang="0">
                  <a:pos x="328" y="526"/>
                </a:cxn>
                <a:cxn ang="0">
                  <a:pos x="265" y="552"/>
                </a:cxn>
                <a:cxn ang="0">
                  <a:pos x="228" y="625"/>
                </a:cxn>
                <a:cxn ang="0">
                  <a:pos x="169" y="562"/>
                </a:cxn>
                <a:cxn ang="0">
                  <a:pos x="107" y="547"/>
                </a:cxn>
                <a:cxn ang="0">
                  <a:pos x="56" y="516"/>
                </a:cxn>
                <a:cxn ang="0">
                  <a:pos x="19" y="471"/>
                </a:cxn>
                <a:cxn ang="0">
                  <a:pos x="0" y="409"/>
                </a:cxn>
                <a:cxn ang="0">
                  <a:pos x="111" y="417"/>
                </a:cxn>
                <a:cxn ang="0">
                  <a:pos x="131" y="447"/>
                </a:cxn>
                <a:cxn ang="0">
                  <a:pos x="156" y="470"/>
                </a:cxn>
                <a:cxn ang="0">
                  <a:pos x="169" y="330"/>
                </a:cxn>
                <a:cxn ang="0">
                  <a:pos x="101" y="305"/>
                </a:cxn>
                <a:cxn ang="0">
                  <a:pos x="54" y="271"/>
                </a:cxn>
                <a:cxn ang="0">
                  <a:pos x="26" y="227"/>
                </a:cxn>
                <a:cxn ang="0">
                  <a:pos x="17" y="175"/>
                </a:cxn>
                <a:cxn ang="0">
                  <a:pos x="27" y="122"/>
                </a:cxn>
                <a:cxn ang="0">
                  <a:pos x="58" y="78"/>
                </a:cxn>
                <a:cxn ang="0">
                  <a:pos x="107" y="48"/>
                </a:cxn>
                <a:cxn ang="0">
                  <a:pos x="169" y="34"/>
                </a:cxn>
              </a:cxnLst>
              <a:rect l="0" t="0" r="r" b="b"/>
              <a:pathLst>
                <a:path w="395" h="625">
                  <a:moveTo>
                    <a:pt x="228" y="345"/>
                  </a:moveTo>
                  <a:lnTo>
                    <a:pt x="228" y="482"/>
                  </a:lnTo>
                  <a:lnTo>
                    <a:pt x="247" y="478"/>
                  </a:lnTo>
                  <a:lnTo>
                    <a:pt x="264" y="470"/>
                  </a:lnTo>
                  <a:lnTo>
                    <a:pt x="277" y="458"/>
                  </a:lnTo>
                  <a:lnTo>
                    <a:pt x="288" y="445"/>
                  </a:lnTo>
                  <a:lnTo>
                    <a:pt x="295" y="429"/>
                  </a:lnTo>
                  <a:lnTo>
                    <a:pt x="297" y="411"/>
                  </a:lnTo>
                  <a:lnTo>
                    <a:pt x="296" y="397"/>
                  </a:lnTo>
                  <a:lnTo>
                    <a:pt x="289" y="384"/>
                  </a:lnTo>
                  <a:lnTo>
                    <a:pt x="280" y="372"/>
                  </a:lnTo>
                  <a:lnTo>
                    <a:pt x="267" y="361"/>
                  </a:lnTo>
                  <a:lnTo>
                    <a:pt x="250" y="353"/>
                  </a:lnTo>
                  <a:lnTo>
                    <a:pt x="228" y="345"/>
                  </a:lnTo>
                  <a:close/>
                  <a:moveTo>
                    <a:pt x="169" y="110"/>
                  </a:moveTo>
                  <a:lnTo>
                    <a:pt x="154" y="115"/>
                  </a:lnTo>
                  <a:lnTo>
                    <a:pt x="142" y="123"/>
                  </a:lnTo>
                  <a:lnTo>
                    <a:pt x="132" y="134"/>
                  </a:lnTo>
                  <a:lnTo>
                    <a:pt x="121" y="151"/>
                  </a:lnTo>
                  <a:lnTo>
                    <a:pt x="117" y="171"/>
                  </a:lnTo>
                  <a:lnTo>
                    <a:pt x="120" y="188"/>
                  </a:lnTo>
                  <a:lnTo>
                    <a:pt x="131" y="206"/>
                  </a:lnTo>
                  <a:lnTo>
                    <a:pt x="140" y="215"/>
                  </a:lnTo>
                  <a:lnTo>
                    <a:pt x="153" y="224"/>
                  </a:lnTo>
                  <a:lnTo>
                    <a:pt x="169" y="231"/>
                  </a:lnTo>
                  <a:lnTo>
                    <a:pt x="169" y="110"/>
                  </a:lnTo>
                  <a:close/>
                  <a:moveTo>
                    <a:pt x="169" y="0"/>
                  </a:moveTo>
                  <a:lnTo>
                    <a:pt x="228" y="0"/>
                  </a:lnTo>
                  <a:lnTo>
                    <a:pt x="228" y="34"/>
                  </a:lnTo>
                  <a:lnTo>
                    <a:pt x="259" y="38"/>
                  </a:lnTo>
                  <a:lnTo>
                    <a:pt x="285" y="46"/>
                  </a:lnTo>
                  <a:lnTo>
                    <a:pt x="309" y="57"/>
                  </a:lnTo>
                  <a:lnTo>
                    <a:pt x="330" y="71"/>
                  </a:lnTo>
                  <a:lnTo>
                    <a:pt x="347" y="89"/>
                  </a:lnTo>
                  <a:lnTo>
                    <a:pt x="362" y="109"/>
                  </a:lnTo>
                  <a:lnTo>
                    <a:pt x="373" y="130"/>
                  </a:lnTo>
                  <a:lnTo>
                    <a:pt x="379" y="155"/>
                  </a:lnTo>
                  <a:lnTo>
                    <a:pt x="277" y="167"/>
                  </a:lnTo>
                  <a:lnTo>
                    <a:pt x="271" y="149"/>
                  </a:lnTo>
                  <a:lnTo>
                    <a:pt x="260" y="133"/>
                  </a:lnTo>
                  <a:lnTo>
                    <a:pt x="247" y="121"/>
                  </a:lnTo>
                  <a:lnTo>
                    <a:pt x="228" y="111"/>
                  </a:lnTo>
                  <a:lnTo>
                    <a:pt x="228" y="248"/>
                  </a:lnTo>
                  <a:lnTo>
                    <a:pt x="273" y="260"/>
                  </a:lnTo>
                  <a:lnTo>
                    <a:pt x="310" y="273"/>
                  </a:lnTo>
                  <a:lnTo>
                    <a:pt x="339" y="289"/>
                  </a:lnTo>
                  <a:lnTo>
                    <a:pt x="361" y="307"/>
                  </a:lnTo>
                  <a:lnTo>
                    <a:pt x="377" y="326"/>
                  </a:lnTo>
                  <a:lnTo>
                    <a:pt x="387" y="348"/>
                  </a:lnTo>
                  <a:lnTo>
                    <a:pt x="392" y="373"/>
                  </a:lnTo>
                  <a:lnTo>
                    <a:pt x="395" y="400"/>
                  </a:lnTo>
                  <a:lnTo>
                    <a:pt x="392" y="430"/>
                  </a:lnTo>
                  <a:lnTo>
                    <a:pt x="384" y="458"/>
                  </a:lnTo>
                  <a:lnTo>
                    <a:pt x="370" y="483"/>
                  </a:lnTo>
                  <a:lnTo>
                    <a:pt x="351" y="506"/>
                  </a:lnTo>
                  <a:lnTo>
                    <a:pt x="328" y="526"/>
                  </a:lnTo>
                  <a:lnTo>
                    <a:pt x="298" y="540"/>
                  </a:lnTo>
                  <a:lnTo>
                    <a:pt x="265" y="552"/>
                  </a:lnTo>
                  <a:lnTo>
                    <a:pt x="228" y="559"/>
                  </a:lnTo>
                  <a:lnTo>
                    <a:pt x="228" y="625"/>
                  </a:lnTo>
                  <a:lnTo>
                    <a:pt x="169" y="625"/>
                  </a:lnTo>
                  <a:lnTo>
                    <a:pt x="169" y="562"/>
                  </a:lnTo>
                  <a:lnTo>
                    <a:pt x="136" y="556"/>
                  </a:lnTo>
                  <a:lnTo>
                    <a:pt x="107" y="547"/>
                  </a:lnTo>
                  <a:lnTo>
                    <a:pt x="80" y="534"/>
                  </a:lnTo>
                  <a:lnTo>
                    <a:pt x="56" y="516"/>
                  </a:lnTo>
                  <a:lnTo>
                    <a:pt x="37" y="495"/>
                  </a:lnTo>
                  <a:lnTo>
                    <a:pt x="19" y="471"/>
                  </a:lnTo>
                  <a:lnTo>
                    <a:pt x="8" y="442"/>
                  </a:lnTo>
                  <a:lnTo>
                    <a:pt x="0" y="409"/>
                  </a:lnTo>
                  <a:lnTo>
                    <a:pt x="105" y="400"/>
                  </a:lnTo>
                  <a:lnTo>
                    <a:pt x="111" y="417"/>
                  </a:lnTo>
                  <a:lnTo>
                    <a:pt x="120" y="433"/>
                  </a:lnTo>
                  <a:lnTo>
                    <a:pt x="131" y="447"/>
                  </a:lnTo>
                  <a:lnTo>
                    <a:pt x="142" y="459"/>
                  </a:lnTo>
                  <a:lnTo>
                    <a:pt x="156" y="470"/>
                  </a:lnTo>
                  <a:lnTo>
                    <a:pt x="169" y="477"/>
                  </a:lnTo>
                  <a:lnTo>
                    <a:pt x="169" y="330"/>
                  </a:lnTo>
                  <a:lnTo>
                    <a:pt x="132" y="320"/>
                  </a:lnTo>
                  <a:lnTo>
                    <a:pt x="101" y="305"/>
                  </a:lnTo>
                  <a:lnTo>
                    <a:pt x="75" y="289"/>
                  </a:lnTo>
                  <a:lnTo>
                    <a:pt x="54" y="271"/>
                  </a:lnTo>
                  <a:lnTo>
                    <a:pt x="38" y="251"/>
                  </a:lnTo>
                  <a:lnTo>
                    <a:pt x="26" y="227"/>
                  </a:lnTo>
                  <a:lnTo>
                    <a:pt x="19" y="202"/>
                  </a:lnTo>
                  <a:lnTo>
                    <a:pt x="17" y="175"/>
                  </a:lnTo>
                  <a:lnTo>
                    <a:pt x="19" y="147"/>
                  </a:lnTo>
                  <a:lnTo>
                    <a:pt x="27" y="122"/>
                  </a:lnTo>
                  <a:lnTo>
                    <a:pt x="39" y="99"/>
                  </a:lnTo>
                  <a:lnTo>
                    <a:pt x="58" y="78"/>
                  </a:lnTo>
                  <a:lnTo>
                    <a:pt x="80" y="61"/>
                  </a:lnTo>
                  <a:lnTo>
                    <a:pt x="107" y="48"/>
                  </a:lnTo>
                  <a:lnTo>
                    <a:pt x="136" y="40"/>
                  </a:lnTo>
                  <a:lnTo>
                    <a:pt x="169" y="34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30"/>
          <p:cNvGrpSpPr/>
          <p:nvPr/>
        </p:nvGrpSpPr>
        <p:grpSpPr>
          <a:xfrm rot="20997755">
            <a:off x="1305110" y="2536283"/>
            <a:ext cx="4854575" cy="2338388"/>
            <a:chOff x="6948488" y="2060575"/>
            <a:chExt cx="4854575" cy="2338388"/>
          </a:xfrm>
        </p:grpSpPr>
        <p:sp>
          <p:nvSpPr>
            <p:cNvPr id="62" name="Rectangle 23"/>
            <p:cNvSpPr>
              <a:spLocks noChangeArrowheads="1"/>
            </p:cNvSpPr>
            <p:nvPr/>
          </p:nvSpPr>
          <p:spPr bwMode="auto">
            <a:xfrm>
              <a:off x="6948488" y="2060575"/>
              <a:ext cx="4854575" cy="233838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4"/>
            <p:cNvSpPr>
              <a:spLocks/>
            </p:cNvSpPr>
            <p:nvPr/>
          </p:nvSpPr>
          <p:spPr bwMode="auto">
            <a:xfrm>
              <a:off x="7162799" y="2209800"/>
              <a:ext cx="2208212" cy="2041525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391" y="0"/>
                </a:cxn>
                <a:cxn ang="0">
                  <a:pos x="1391" y="1286"/>
                </a:cxn>
                <a:cxn ang="0">
                  <a:pos x="225" y="1286"/>
                </a:cxn>
                <a:cxn ang="0">
                  <a:pos x="209" y="1237"/>
                </a:cxn>
                <a:cxn ang="0">
                  <a:pos x="186" y="1192"/>
                </a:cxn>
                <a:cxn ang="0">
                  <a:pos x="159" y="1151"/>
                </a:cxn>
                <a:cxn ang="0">
                  <a:pos x="126" y="1113"/>
                </a:cxn>
                <a:cxn ang="0">
                  <a:pos x="87" y="1080"/>
                </a:cxn>
                <a:cxn ang="0">
                  <a:pos x="45" y="1052"/>
                </a:cxn>
                <a:cxn ang="0">
                  <a:pos x="0" y="1031"/>
                </a:cxn>
                <a:cxn ang="0">
                  <a:pos x="0" y="254"/>
                </a:cxn>
                <a:cxn ang="0">
                  <a:pos x="45" y="233"/>
                </a:cxn>
                <a:cxn ang="0">
                  <a:pos x="87" y="206"/>
                </a:cxn>
                <a:cxn ang="0">
                  <a:pos x="126" y="173"/>
                </a:cxn>
                <a:cxn ang="0">
                  <a:pos x="159" y="136"/>
                </a:cxn>
                <a:cxn ang="0">
                  <a:pos x="186" y="95"/>
                </a:cxn>
                <a:cxn ang="0">
                  <a:pos x="209" y="50"/>
                </a:cxn>
                <a:cxn ang="0">
                  <a:pos x="225" y="0"/>
                </a:cxn>
              </a:cxnLst>
              <a:rect l="0" t="0" r="r" b="b"/>
              <a:pathLst>
                <a:path w="1391" h="1286">
                  <a:moveTo>
                    <a:pt x="225" y="0"/>
                  </a:moveTo>
                  <a:lnTo>
                    <a:pt x="1391" y="0"/>
                  </a:lnTo>
                  <a:lnTo>
                    <a:pt x="1391" y="1286"/>
                  </a:lnTo>
                  <a:lnTo>
                    <a:pt x="225" y="1286"/>
                  </a:lnTo>
                  <a:lnTo>
                    <a:pt x="209" y="1237"/>
                  </a:lnTo>
                  <a:lnTo>
                    <a:pt x="186" y="1192"/>
                  </a:lnTo>
                  <a:lnTo>
                    <a:pt x="159" y="1151"/>
                  </a:lnTo>
                  <a:lnTo>
                    <a:pt x="126" y="1113"/>
                  </a:lnTo>
                  <a:lnTo>
                    <a:pt x="87" y="1080"/>
                  </a:lnTo>
                  <a:lnTo>
                    <a:pt x="45" y="1052"/>
                  </a:lnTo>
                  <a:lnTo>
                    <a:pt x="0" y="1031"/>
                  </a:lnTo>
                  <a:lnTo>
                    <a:pt x="0" y="254"/>
                  </a:lnTo>
                  <a:lnTo>
                    <a:pt x="45" y="233"/>
                  </a:lnTo>
                  <a:lnTo>
                    <a:pt x="87" y="206"/>
                  </a:lnTo>
                  <a:lnTo>
                    <a:pt x="126" y="173"/>
                  </a:lnTo>
                  <a:lnTo>
                    <a:pt x="159" y="136"/>
                  </a:lnTo>
                  <a:lnTo>
                    <a:pt x="186" y="95"/>
                  </a:lnTo>
                  <a:lnTo>
                    <a:pt x="209" y="50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"/>
            <p:cNvSpPr>
              <a:spLocks/>
            </p:cNvSpPr>
            <p:nvPr/>
          </p:nvSpPr>
          <p:spPr bwMode="auto">
            <a:xfrm>
              <a:off x="9371012" y="2209800"/>
              <a:ext cx="2217737" cy="2041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69" y="0"/>
                </a:cxn>
                <a:cxn ang="0">
                  <a:pos x="1185" y="51"/>
                </a:cxn>
                <a:cxn ang="0">
                  <a:pos x="1206" y="97"/>
                </a:cxn>
                <a:cxn ang="0">
                  <a:pos x="1234" y="141"/>
                </a:cxn>
                <a:cxn ang="0">
                  <a:pos x="1269" y="180"/>
                </a:cxn>
                <a:cxn ang="0">
                  <a:pos x="1307" y="214"/>
                </a:cxn>
                <a:cxn ang="0">
                  <a:pos x="1349" y="242"/>
                </a:cxn>
                <a:cxn ang="0">
                  <a:pos x="1397" y="265"/>
                </a:cxn>
                <a:cxn ang="0">
                  <a:pos x="1397" y="1031"/>
                </a:cxn>
                <a:cxn ang="0">
                  <a:pos x="1352" y="1052"/>
                </a:cxn>
                <a:cxn ang="0">
                  <a:pos x="1310" y="1080"/>
                </a:cxn>
                <a:cxn ang="0">
                  <a:pos x="1271" y="1113"/>
                </a:cxn>
                <a:cxn ang="0">
                  <a:pos x="1238" y="1151"/>
                </a:cxn>
                <a:cxn ang="0">
                  <a:pos x="1210" y="1192"/>
                </a:cxn>
                <a:cxn ang="0">
                  <a:pos x="1188" y="1237"/>
                </a:cxn>
                <a:cxn ang="0">
                  <a:pos x="1172" y="1286"/>
                </a:cxn>
                <a:cxn ang="0">
                  <a:pos x="0" y="1286"/>
                </a:cxn>
                <a:cxn ang="0">
                  <a:pos x="0" y="0"/>
                </a:cxn>
              </a:cxnLst>
              <a:rect l="0" t="0" r="r" b="b"/>
              <a:pathLst>
                <a:path w="1397" h="1286">
                  <a:moveTo>
                    <a:pt x="0" y="0"/>
                  </a:moveTo>
                  <a:lnTo>
                    <a:pt x="1169" y="0"/>
                  </a:lnTo>
                  <a:lnTo>
                    <a:pt x="1185" y="51"/>
                  </a:lnTo>
                  <a:lnTo>
                    <a:pt x="1206" y="97"/>
                  </a:lnTo>
                  <a:lnTo>
                    <a:pt x="1234" y="141"/>
                  </a:lnTo>
                  <a:lnTo>
                    <a:pt x="1269" y="180"/>
                  </a:lnTo>
                  <a:lnTo>
                    <a:pt x="1307" y="214"/>
                  </a:lnTo>
                  <a:lnTo>
                    <a:pt x="1349" y="242"/>
                  </a:lnTo>
                  <a:lnTo>
                    <a:pt x="1397" y="265"/>
                  </a:lnTo>
                  <a:lnTo>
                    <a:pt x="1397" y="1031"/>
                  </a:lnTo>
                  <a:lnTo>
                    <a:pt x="1352" y="1052"/>
                  </a:lnTo>
                  <a:lnTo>
                    <a:pt x="1310" y="1080"/>
                  </a:lnTo>
                  <a:lnTo>
                    <a:pt x="1271" y="1113"/>
                  </a:lnTo>
                  <a:lnTo>
                    <a:pt x="1238" y="1151"/>
                  </a:lnTo>
                  <a:lnTo>
                    <a:pt x="1210" y="1192"/>
                  </a:lnTo>
                  <a:lnTo>
                    <a:pt x="1188" y="1237"/>
                  </a:lnTo>
                  <a:lnTo>
                    <a:pt x="1172" y="1286"/>
                  </a:lnTo>
                  <a:lnTo>
                    <a:pt x="0" y="12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auto">
            <a:xfrm>
              <a:off x="8015287" y="3067050"/>
              <a:ext cx="327025" cy="32861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31" y="4"/>
                </a:cxn>
                <a:cxn ang="0">
                  <a:pos x="155" y="14"/>
                </a:cxn>
                <a:cxn ang="0">
                  <a:pos x="176" y="30"/>
                </a:cxn>
                <a:cxn ang="0">
                  <a:pos x="192" y="51"/>
                </a:cxn>
                <a:cxn ang="0">
                  <a:pos x="202" y="75"/>
                </a:cxn>
                <a:cxn ang="0">
                  <a:pos x="206" y="103"/>
                </a:cxn>
                <a:cxn ang="0">
                  <a:pos x="202" y="131"/>
                </a:cxn>
                <a:cxn ang="0">
                  <a:pos x="192" y="155"/>
                </a:cxn>
                <a:cxn ang="0">
                  <a:pos x="176" y="176"/>
                </a:cxn>
                <a:cxn ang="0">
                  <a:pos x="155" y="192"/>
                </a:cxn>
                <a:cxn ang="0">
                  <a:pos x="131" y="203"/>
                </a:cxn>
                <a:cxn ang="0">
                  <a:pos x="103" y="207"/>
                </a:cxn>
                <a:cxn ang="0">
                  <a:pos x="75" y="203"/>
                </a:cxn>
                <a:cxn ang="0">
                  <a:pos x="51" y="192"/>
                </a:cxn>
                <a:cxn ang="0">
                  <a:pos x="30" y="176"/>
                </a:cxn>
                <a:cxn ang="0">
                  <a:pos x="14" y="155"/>
                </a:cxn>
                <a:cxn ang="0">
                  <a:pos x="4" y="131"/>
                </a:cxn>
                <a:cxn ang="0">
                  <a:pos x="0" y="103"/>
                </a:cxn>
                <a:cxn ang="0">
                  <a:pos x="4" y="75"/>
                </a:cxn>
                <a:cxn ang="0">
                  <a:pos x="14" y="51"/>
                </a:cxn>
                <a:cxn ang="0">
                  <a:pos x="30" y="30"/>
                </a:cxn>
                <a:cxn ang="0">
                  <a:pos x="51" y="14"/>
                </a:cxn>
                <a:cxn ang="0">
                  <a:pos x="75" y="4"/>
                </a:cxn>
                <a:cxn ang="0">
                  <a:pos x="103" y="0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lnTo>
                    <a:pt x="131" y="4"/>
                  </a:lnTo>
                  <a:lnTo>
                    <a:pt x="155" y="14"/>
                  </a:lnTo>
                  <a:lnTo>
                    <a:pt x="176" y="30"/>
                  </a:lnTo>
                  <a:lnTo>
                    <a:pt x="192" y="51"/>
                  </a:lnTo>
                  <a:lnTo>
                    <a:pt x="202" y="75"/>
                  </a:lnTo>
                  <a:lnTo>
                    <a:pt x="206" y="103"/>
                  </a:lnTo>
                  <a:lnTo>
                    <a:pt x="202" y="131"/>
                  </a:lnTo>
                  <a:lnTo>
                    <a:pt x="192" y="155"/>
                  </a:lnTo>
                  <a:lnTo>
                    <a:pt x="176" y="176"/>
                  </a:lnTo>
                  <a:lnTo>
                    <a:pt x="155" y="192"/>
                  </a:lnTo>
                  <a:lnTo>
                    <a:pt x="131" y="203"/>
                  </a:lnTo>
                  <a:lnTo>
                    <a:pt x="103" y="207"/>
                  </a:lnTo>
                  <a:lnTo>
                    <a:pt x="75" y="203"/>
                  </a:lnTo>
                  <a:lnTo>
                    <a:pt x="51" y="192"/>
                  </a:lnTo>
                  <a:lnTo>
                    <a:pt x="30" y="176"/>
                  </a:lnTo>
                  <a:lnTo>
                    <a:pt x="14" y="155"/>
                  </a:lnTo>
                  <a:lnTo>
                    <a:pt x="4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4" y="51"/>
                  </a:lnTo>
                  <a:lnTo>
                    <a:pt x="30" y="30"/>
                  </a:lnTo>
                  <a:lnTo>
                    <a:pt x="51" y="14"/>
                  </a:lnTo>
                  <a:lnTo>
                    <a:pt x="75" y="4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"/>
            <p:cNvSpPr>
              <a:spLocks/>
            </p:cNvSpPr>
            <p:nvPr/>
          </p:nvSpPr>
          <p:spPr bwMode="auto">
            <a:xfrm>
              <a:off x="10409237" y="3067050"/>
              <a:ext cx="327025" cy="32861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31" y="4"/>
                </a:cxn>
                <a:cxn ang="0">
                  <a:pos x="154" y="14"/>
                </a:cxn>
                <a:cxn ang="0">
                  <a:pos x="176" y="30"/>
                </a:cxn>
                <a:cxn ang="0">
                  <a:pos x="191" y="51"/>
                </a:cxn>
                <a:cxn ang="0">
                  <a:pos x="202" y="75"/>
                </a:cxn>
                <a:cxn ang="0">
                  <a:pos x="206" y="103"/>
                </a:cxn>
                <a:cxn ang="0">
                  <a:pos x="202" y="131"/>
                </a:cxn>
                <a:cxn ang="0">
                  <a:pos x="191" y="155"/>
                </a:cxn>
                <a:cxn ang="0">
                  <a:pos x="176" y="176"/>
                </a:cxn>
                <a:cxn ang="0">
                  <a:pos x="154" y="192"/>
                </a:cxn>
                <a:cxn ang="0">
                  <a:pos x="131" y="203"/>
                </a:cxn>
                <a:cxn ang="0">
                  <a:pos x="103" y="207"/>
                </a:cxn>
                <a:cxn ang="0">
                  <a:pos x="75" y="203"/>
                </a:cxn>
                <a:cxn ang="0">
                  <a:pos x="51" y="192"/>
                </a:cxn>
                <a:cxn ang="0">
                  <a:pos x="30" y="176"/>
                </a:cxn>
                <a:cxn ang="0">
                  <a:pos x="14" y="155"/>
                </a:cxn>
                <a:cxn ang="0">
                  <a:pos x="4" y="131"/>
                </a:cxn>
                <a:cxn ang="0">
                  <a:pos x="0" y="103"/>
                </a:cxn>
                <a:cxn ang="0">
                  <a:pos x="4" y="75"/>
                </a:cxn>
                <a:cxn ang="0">
                  <a:pos x="14" y="51"/>
                </a:cxn>
                <a:cxn ang="0">
                  <a:pos x="30" y="30"/>
                </a:cxn>
                <a:cxn ang="0">
                  <a:pos x="51" y="14"/>
                </a:cxn>
                <a:cxn ang="0">
                  <a:pos x="75" y="4"/>
                </a:cxn>
                <a:cxn ang="0">
                  <a:pos x="103" y="0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lnTo>
                    <a:pt x="131" y="4"/>
                  </a:lnTo>
                  <a:lnTo>
                    <a:pt x="154" y="14"/>
                  </a:lnTo>
                  <a:lnTo>
                    <a:pt x="176" y="30"/>
                  </a:lnTo>
                  <a:lnTo>
                    <a:pt x="191" y="51"/>
                  </a:lnTo>
                  <a:lnTo>
                    <a:pt x="202" y="75"/>
                  </a:lnTo>
                  <a:lnTo>
                    <a:pt x="206" y="103"/>
                  </a:lnTo>
                  <a:lnTo>
                    <a:pt x="202" y="131"/>
                  </a:lnTo>
                  <a:lnTo>
                    <a:pt x="191" y="155"/>
                  </a:lnTo>
                  <a:lnTo>
                    <a:pt x="176" y="176"/>
                  </a:lnTo>
                  <a:lnTo>
                    <a:pt x="154" y="192"/>
                  </a:lnTo>
                  <a:lnTo>
                    <a:pt x="131" y="203"/>
                  </a:lnTo>
                  <a:lnTo>
                    <a:pt x="103" y="207"/>
                  </a:lnTo>
                  <a:lnTo>
                    <a:pt x="75" y="203"/>
                  </a:lnTo>
                  <a:lnTo>
                    <a:pt x="51" y="192"/>
                  </a:lnTo>
                  <a:lnTo>
                    <a:pt x="30" y="176"/>
                  </a:lnTo>
                  <a:lnTo>
                    <a:pt x="14" y="155"/>
                  </a:lnTo>
                  <a:lnTo>
                    <a:pt x="4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4" y="51"/>
                  </a:lnTo>
                  <a:lnTo>
                    <a:pt x="30" y="30"/>
                  </a:lnTo>
                  <a:lnTo>
                    <a:pt x="51" y="14"/>
                  </a:lnTo>
                  <a:lnTo>
                    <a:pt x="75" y="4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"/>
            <p:cNvSpPr>
              <a:spLocks/>
            </p:cNvSpPr>
            <p:nvPr/>
          </p:nvSpPr>
          <p:spPr bwMode="auto">
            <a:xfrm>
              <a:off x="8720137" y="2473325"/>
              <a:ext cx="1311275" cy="1514475"/>
            </a:xfrm>
            <a:custGeom>
              <a:avLst/>
              <a:gdLst/>
              <a:ahLst/>
              <a:cxnLst>
                <a:cxn ang="0">
                  <a:pos x="413" y="0"/>
                </a:cxn>
                <a:cxn ang="0">
                  <a:pos x="464" y="4"/>
                </a:cxn>
                <a:cxn ang="0">
                  <a:pos x="515" y="15"/>
                </a:cxn>
                <a:cxn ang="0">
                  <a:pos x="562" y="32"/>
                </a:cxn>
                <a:cxn ang="0">
                  <a:pos x="607" y="56"/>
                </a:cxn>
                <a:cxn ang="0">
                  <a:pos x="650" y="85"/>
                </a:cxn>
                <a:cxn ang="0">
                  <a:pos x="687" y="120"/>
                </a:cxn>
                <a:cxn ang="0">
                  <a:pos x="721" y="160"/>
                </a:cxn>
                <a:cxn ang="0">
                  <a:pos x="751" y="205"/>
                </a:cxn>
                <a:cxn ang="0">
                  <a:pos x="778" y="253"/>
                </a:cxn>
                <a:cxn ang="0">
                  <a:pos x="798" y="305"/>
                </a:cxn>
                <a:cxn ang="0">
                  <a:pos x="814" y="359"/>
                </a:cxn>
                <a:cxn ang="0">
                  <a:pos x="823" y="417"/>
                </a:cxn>
                <a:cxn ang="0">
                  <a:pos x="826" y="477"/>
                </a:cxn>
                <a:cxn ang="0">
                  <a:pos x="823" y="537"/>
                </a:cxn>
                <a:cxn ang="0">
                  <a:pos x="814" y="594"/>
                </a:cxn>
                <a:cxn ang="0">
                  <a:pos x="798" y="650"/>
                </a:cxn>
                <a:cxn ang="0">
                  <a:pos x="778" y="702"/>
                </a:cxn>
                <a:cxn ang="0">
                  <a:pos x="751" y="750"/>
                </a:cxn>
                <a:cxn ang="0">
                  <a:pos x="721" y="793"/>
                </a:cxn>
                <a:cxn ang="0">
                  <a:pos x="687" y="833"/>
                </a:cxn>
                <a:cxn ang="0">
                  <a:pos x="650" y="869"/>
                </a:cxn>
                <a:cxn ang="0">
                  <a:pos x="607" y="898"/>
                </a:cxn>
                <a:cxn ang="0">
                  <a:pos x="562" y="922"/>
                </a:cxn>
                <a:cxn ang="0">
                  <a:pos x="515" y="939"/>
                </a:cxn>
                <a:cxn ang="0">
                  <a:pos x="464" y="950"/>
                </a:cxn>
                <a:cxn ang="0">
                  <a:pos x="413" y="954"/>
                </a:cxn>
                <a:cxn ang="0">
                  <a:pos x="361" y="950"/>
                </a:cxn>
                <a:cxn ang="0">
                  <a:pos x="311" y="939"/>
                </a:cxn>
                <a:cxn ang="0">
                  <a:pos x="263" y="922"/>
                </a:cxn>
                <a:cxn ang="0">
                  <a:pos x="218" y="898"/>
                </a:cxn>
                <a:cxn ang="0">
                  <a:pos x="176" y="869"/>
                </a:cxn>
                <a:cxn ang="0">
                  <a:pos x="139" y="833"/>
                </a:cxn>
                <a:cxn ang="0">
                  <a:pos x="105" y="793"/>
                </a:cxn>
                <a:cxn ang="0">
                  <a:pos x="74" y="750"/>
                </a:cxn>
                <a:cxn ang="0">
                  <a:pos x="48" y="702"/>
                </a:cxn>
                <a:cxn ang="0">
                  <a:pos x="28" y="650"/>
                </a:cxn>
                <a:cxn ang="0">
                  <a:pos x="12" y="594"/>
                </a:cxn>
                <a:cxn ang="0">
                  <a:pos x="3" y="537"/>
                </a:cxn>
                <a:cxn ang="0">
                  <a:pos x="0" y="477"/>
                </a:cxn>
                <a:cxn ang="0">
                  <a:pos x="3" y="417"/>
                </a:cxn>
                <a:cxn ang="0">
                  <a:pos x="12" y="359"/>
                </a:cxn>
                <a:cxn ang="0">
                  <a:pos x="28" y="305"/>
                </a:cxn>
                <a:cxn ang="0">
                  <a:pos x="48" y="253"/>
                </a:cxn>
                <a:cxn ang="0">
                  <a:pos x="74" y="205"/>
                </a:cxn>
                <a:cxn ang="0">
                  <a:pos x="105" y="160"/>
                </a:cxn>
                <a:cxn ang="0">
                  <a:pos x="139" y="120"/>
                </a:cxn>
                <a:cxn ang="0">
                  <a:pos x="176" y="85"/>
                </a:cxn>
                <a:cxn ang="0">
                  <a:pos x="218" y="56"/>
                </a:cxn>
                <a:cxn ang="0">
                  <a:pos x="263" y="32"/>
                </a:cxn>
                <a:cxn ang="0">
                  <a:pos x="311" y="15"/>
                </a:cxn>
                <a:cxn ang="0">
                  <a:pos x="361" y="4"/>
                </a:cxn>
                <a:cxn ang="0">
                  <a:pos x="413" y="0"/>
                </a:cxn>
              </a:cxnLst>
              <a:rect l="0" t="0" r="r" b="b"/>
              <a:pathLst>
                <a:path w="826" h="954">
                  <a:moveTo>
                    <a:pt x="413" y="0"/>
                  </a:moveTo>
                  <a:lnTo>
                    <a:pt x="464" y="4"/>
                  </a:lnTo>
                  <a:lnTo>
                    <a:pt x="515" y="15"/>
                  </a:lnTo>
                  <a:lnTo>
                    <a:pt x="562" y="32"/>
                  </a:lnTo>
                  <a:lnTo>
                    <a:pt x="607" y="56"/>
                  </a:lnTo>
                  <a:lnTo>
                    <a:pt x="650" y="85"/>
                  </a:lnTo>
                  <a:lnTo>
                    <a:pt x="687" y="120"/>
                  </a:lnTo>
                  <a:lnTo>
                    <a:pt x="721" y="160"/>
                  </a:lnTo>
                  <a:lnTo>
                    <a:pt x="751" y="205"/>
                  </a:lnTo>
                  <a:lnTo>
                    <a:pt x="778" y="253"/>
                  </a:lnTo>
                  <a:lnTo>
                    <a:pt x="798" y="305"/>
                  </a:lnTo>
                  <a:lnTo>
                    <a:pt x="814" y="359"/>
                  </a:lnTo>
                  <a:lnTo>
                    <a:pt x="823" y="417"/>
                  </a:lnTo>
                  <a:lnTo>
                    <a:pt x="826" y="477"/>
                  </a:lnTo>
                  <a:lnTo>
                    <a:pt x="823" y="537"/>
                  </a:lnTo>
                  <a:lnTo>
                    <a:pt x="814" y="594"/>
                  </a:lnTo>
                  <a:lnTo>
                    <a:pt x="798" y="650"/>
                  </a:lnTo>
                  <a:lnTo>
                    <a:pt x="778" y="702"/>
                  </a:lnTo>
                  <a:lnTo>
                    <a:pt x="751" y="750"/>
                  </a:lnTo>
                  <a:lnTo>
                    <a:pt x="721" y="793"/>
                  </a:lnTo>
                  <a:lnTo>
                    <a:pt x="687" y="833"/>
                  </a:lnTo>
                  <a:lnTo>
                    <a:pt x="650" y="869"/>
                  </a:lnTo>
                  <a:lnTo>
                    <a:pt x="607" y="898"/>
                  </a:lnTo>
                  <a:lnTo>
                    <a:pt x="562" y="922"/>
                  </a:lnTo>
                  <a:lnTo>
                    <a:pt x="515" y="939"/>
                  </a:lnTo>
                  <a:lnTo>
                    <a:pt x="464" y="950"/>
                  </a:lnTo>
                  <a:lnTo>
                    <a:pt x="413" y="954"/>
                  </a:lnTo>
                  <a:lnTo>
                    <a:pt x="361" y="950"/>
                  </a:lnTo>
                  <a:lnTo>
                    <a:pt x="311" y="939"/>
                  </a:lnTo>
                  <a:lnTo>
                    <a:pt x="263" y="922"/>
                  </a:lnTo>
                  <a:lnTo>
                    <a:pt x="218" y="898"/>
                  </a:lnTo>
                  <a:lnTo>
                    <a:pt x="176" y="869"/>
                  </a:lnTo>
                  <a:lnTo>
                    <a:pt x="139" y="833"/>
                  </a:lnTo>
                  <a:lnTo>
                    <a:pt x="105" y="793"/>
                  </a:lnTo>
                  <a:lnTo>
                    <a:pt x="74" y="750"/>
                  </a:lnTo>
                  <a:lnTo>
                    <a:pt x="48" y="702"/>
                  </a:lnTo>
                  <a:lnTo>
                    <a:pt x="28" y="650"/>
                  </a:lnTo>
                  <a:lnTo>
                    <a:pt x="12" y="594"/>
                  </a:lnTo>
                  <a:lnTo>
                    <a:pt x="3" y="537"/>
                  </a:lnTo>
                  <a:lnTo>
                    <a:pt x="0" y="477"/>
                  </a:lnTo>
                  <a:lnTo>
                    <a:pt x="3" y="417"/>
                  </a:lnTo>
                  <a:lnTo>
                    <a:pt x="12" y="359"/>
                  </a:lnTo>
                  <a:lnTo>
                    <a:pt x="28" y="305"/>
                  </a:lnTo>
                  <a:lnTo>
                    <a:pt x="48" y="253"/>
                  </a:lnTo>
                  <a:lnTo>
                    <a:pt x="74" y="205"/>
                  </a:lnTo>
                  <a:lnTo>
                    <a:pt x="105" y="160"/>
                  </a:lnTo>
                  <a:lnTo>
                    <a:pt x="139" y="120"/>
                  </a:lnTo>
                  <a:lnTo>
                    <a:pt x="176" y="85"/>
                  </a:lnTo>
                  <a:lnTo>
                    <a:pt x="218" y="56"/>
                  </a:lnTo>
                  <a:lnTo>
                    <a:pt x="263" y="32"/>
                  </a:lnTo>
                  <a:lnTo>
                    <a:pt x="311" y="15"/>
                  </a:lnTo>
                  <a:lnTo>
                    <a:pt x="361" y="4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9"/>
            <p:cNvSpPr>
              <a:spLocks noEditPoints="1"/>
            </p:cNvSpPr>
            <p:nvPr/>
          </p:nvSpPr>
          <p:spPr bwMode="auto">
            <a:xfrm>
              <a:off x="9048749" y="2746375"/>
              <a:ext cx="627062" cy="992188"/>
            </a:xfrm>
            <a:custGeom>
              <a:avLst/>
              <a:gdLst/>
              <a:ahLst/>
              <a:cxnLst>
                <a:cxn ang="0">
                  <a:pos x="228" y="482"/>
                </a:cxn>
                <a:cxn ang="0">
                  <a:pos x="264" y="470"/>
                </a:cxn>
                <a:cxn ang="0">
                  <a:pos x="288" y="445"/>
                </a:cxn>
                <a:cxn ang="0">
                  <a:pos x="297" y="411"/>
                </a:cxn>
                <a:cxn ang="0">
                  <a:pos x="289" y="384"/>
                </a:cxn>
                <a:cxn ang="0">
                  <a:pos x="267" y="361"/>
                </a:cxn>
                <a:cxn ang="0">
                  <a:pos x="228" y="345"/>
                </a:cxn>
                <a:cxn ang="0">
                  <a:pos x="154" y="115"/>
                </a:cxn>
                <a:cxn ang="0">
                  <a:pos x="132" y="134"/>
                </a:cxn>
                <a:cxn ang="0">
                  <a:pos x="117" y="171"/>
                </a:cxn>
                <a:cxn ang="0">
                  <a:pos x="131" y="206"/>
                </a:cxn>
                <a:cxn ang="0">
                  <a:pos x="153" y="224"/>
                </a:cxn>
                <a:cxn ang="0">
                  <a:pos x="169" y="110"/>
                </a:cxn>
                <a:cxn ang="0">
                  <a:pos x="228" y="0"/>
                </a:cxn>
                <a:cxn ang="0">
                  <a:pos x="259" y="38"/>
                </a:cxn>
                <a:cxn ang="0">
                  <a:pos x="309" y="57"/>
                </a:cxn>
                <a:cxn ang="0">
                  <a:pos x="347" y="89"/>
                </a:cxn>
                <a:cxn ang="0">
                  <a:pos x="373" y="130"/>
                </a:cxn>
                <a:cxn ang="0">
                  <a:pos x="277" y="167"/>
                </a:cxn>
                <a:cxn ang="0">
                  <a:pos x="260" y="133"/>
                </a:cxn>
                <a:cxn ang="0">
                  <a:pos x="228" y="111"/>
                </a:cxn>
                <a:cxn ang="0">
                  <a:pos x="273" y="260"/>
                </a:cxn>
                <a:cxn ang="0">
                  <a:pos x="339" y="289"/>
                </a:cxn>
                <a:cxn ang="0">
                  <a:pos x="377" y="326"/>
                </a:cxn>
                <a:cxn ang="0">
                  <a:pos x="392" y="373"/>
                </a:cxn>
                <a:cxn ang="0">
                  <a:pos x="392" y="430"/>
                </a:cxn>
                <a:cxn ang="0">
                  <a:pos x="370" y="483"/>
                </a:cxn>
                <a:cxn ang="0">
                  <a:pos x="328" y="526"/>
                </a:cxn>
                <a:cxn ang="0">
                  <a:pos x="265" y="552"/>
                </a:cxn>
                <a:cxn ang="0">
                  <a:pos x="228" y="625"/>
                </a:cxn>
                <a:cxn ang="0">
                  <a:pos x="169" y="562"/>
                </a:cxn>
                <a:cxn ang="0">
                  <a:pos x="107" y="547"/>
                </a:cxn>
                <a:cxn ang="0">
                  <a:pos x="56" y="516"/>
                </a:cxn>
                <a:cxn ang="0">
                  <a:pos x="19" y="471"/>
                </a:cxn>
                <a:cxn ang="0">
                  <a:pos x="0" y="409"/>
                </a:cxn>
                <a:cxn ang="0">
                  <a:pos x="111" y="417"/>
                </a:cxn>
                <a:cxn ang="0">
                  <a:pos x="131" y="447"/>
                </a:cxn>
                <a:cxn ang="0">
                  <a:pos x="156" y="470"/>
                </a:cxn>
                <a:cxn ang="0">
                  <a:pos x="169" y="330"/>
                </a:cxn>
                <a:cxn ang="0">
                  <a:pos x="101" y="305"/>
                </a:cxn>
                <a:cxn ang="0">
                  <a:pos x="54" y="271"/>
                </a:cxn>
                <a:cxn ang="0">
                  <a:pos x="26" y="227"/>
                </a:cxn>
                <a:cxn ang="0">
                  <a:pos x="17" y="175"/>
                </a:cxn>
                <a:cxn ang="0">
                  <a:pos x="27" y="122"/>
                </a:cxn>
                <a:cxn ang="0">
                  <a:pos x="58" y="78"/>
                </a:cxn>
                <a:cxn ang="0">
                  <a:pos x="107" y="48"/>
                </a:cxn>
                <a:cxn ang="0">
                  <a:pos x="169" y="34"/>
                </a:cxn>
              </a:cxnLst>
              <a:rect l="0" t="0" r="r" b="b"/>
              <a:pathLst>
                <a:path w="395" h="625">
                  <a:moveTo>
                    <a:pt x="228" y="345"/>
                  </a:moveTo>
                  <a:lnTo>
                    <a:pt x="228" y="482"/>
                  </a:lnTo>
                  <a:lnTo>
                    <a:pt x="247" y="478"/>
                  </a:lnTo>
                  <a:lnTo>
                    <a:pt x="264" y="470"/>
                  </a:lnTo>
                  <a:lnTo>
                    <a:pt x="277" y="458"/>
                  </a:lnTo>
                  <a:lnTo>
                    <a:pt x="288" y="445"/>
                  </a:lnTo>
                  <a:lnTo>
                    <a:pt x="295" y="429"/>
                  </a:lnTo>
                  <a:lnTo>
                    <a:pt x="297" y="411"/>
                  </a:lnTo>
                  <a:lnTo>
                    <a:pt x="296" y="397"/>
                  </a:lnTo>
                  <a:lnTo>
                    <a:pt x="289" y="384"/>
                  </a:lnTo>
                  <a:lnTo>
                    <a:pt x="280" y="372"/>
                  </a:lnTo>
                  <a:lnTo>
                    <a:pt x="267" y="361"/>
                  </a:lnTo>
                  <a:lnTo>
                    <a:pt x="250" y="353"/>
                  </a:lnTo>
                  <a:lnTo>
                    <a:pt x="228" y="345"/>
                  </a:lnTo>
                  <a:close/>
                  <a:moveTo>
                    <a:pt x="169" y="110"/>
                  </a:moveTo>
                  <a:lnTo>
                    <a:pt x="154" y="115"/>
                  </a:lnTo>
                  <a:lnTo>
                    <a:pt x="142" y="123"/>
                  </a:lnTo>
                  <a:lnTo>
                    <a:pt x="132" y="134"/>
                  </a:lnTo>
                  <a:lnTo>
                    <a:pt x="121" y="151"/>
                  </a:lnTo>
                  <a:lnTo>
                    <a:pt x="117" y="171"/>
                  </a:lnTo>
                  <a:lnTo>
                    <a:pt x="120" y="188"/>
                  </a:lnTo>
                  <a:lnTo>
                    <a:pt x="131" y="206"/>
                  </a:lnTo>
                  <a:lnTo>
                    <a:pt x="140" y="215"/>
                  </a:lnTo>
                  <a:lnTo>
                    <a:pt x="153" y="224"/>
                  </a:lnTo>
                  <a:lnTo>
                    <a:pt x="169" y="231"/>
                  </a:lnTo>
                  <a:lnTo>
                    <a:pt x="169" y="110"/>
                  </a:lnTo>
                  <a:close/>
                  <a:moveTo>
                    <a:pt x="169" y="0"/>
                  </a:moveTo>
                  <a:lnTo>
                    <a:pt x="228" y="0"/>
                  </a:lnTo>
                  <a:lnTo>
                    <a:pt x="228" y="34"/>
                  </a:lnTo>
                  <a:lnTo>
                    <a:pt x="259" y="38"/>
                  </a:lnTo>
                  <a:lnTo>
                    <a:pt x="285" y="46"/>
                  </a:lnTo>
                  <a:lnTo>
                    <a:pt x="309" y="57"/>
                  </a:lnTo>
                  <a:lnTo>
                    <a:pt x="330" y="71"/>
                  </a:lnTo>
                  <a:lnTo>
                    <a:pt x="347" y="89"/>
                  </a:lnTo>
                  <a:lnTo>
                    <a:pt x="362" y="109"/>
                  </a:lnTo>
                  <a:lnTo>
                    <a:pt x="373" y="130"/>
                  </a:lnTo>
                  <a:lnTo>
                    <a:pt x="379" y="155"/>
                  </a:lnTo>
                  <a:lnTo>
                    <a:pt x="277" y="167"/>
                  </a:lnTo>
                  <a:lnTo>
                    <a:pt x="271" y="149"/>
                  </a:lnTo>
                  <a:lnTo>
                    <a:pt x="260" y="133"/>
                  </a:lnTo>
                  <a:lnTo>
                    <a:pt x="247" y="121"/>
                  </a:lnTo>
                  <a:lnTo>
                    <a:pt x="228" y="111"/>
                  </a:lnTo>
                  <a:lnTo>
                    <a:pt x="228" y="248"/>
                  </a:lnTo>
                  <a:lnTo>
                    <a:pt x="273" y="260"/>
                  </a:lnTo>
                  <a:lnTo>
                    <a:pt x="310" y="273"/>
                  </a:lnTo>
                  <a:lnTo>
                    <a:pt x="339" y="289"/>
                  </a:lnTo>
                  <a:lnTo>
                    <a:pt x="361" y="307"/>
                  </a:lnTo>
                  <a:lnTo>
                    <a:pt x="377" y="326"/>
                  </a:lnTo>
                  <a:lnTo>
                    <a:pt x="387" y="348"/>
                  </a:lnTo>
                  <a:lnTo>
                    <a:pt x="392" y="373"/>
                  </a:lnTo>
                  <a:lnTo>
                    <a:pt x="395" y="400"/>
                  </a:lnTo>
                  <a:lnTo>
                    <a:pt x="392" y="430"/>
                  </a:lnTo>
                  <a:lnTo>
                    <a:pt x="384" y="458"/>
                  </a:lnTo>
                  <a:lnTo>
                    <a:pt x="370" y="483"/>
                  </a:lnTo>
                  <a:lnTo>
                    <a:pt x="351" y="506"/>
                  </a:lnTo>
                  <a:lnTo>
                    <a:pt x="328" y="526"/>
                  </a:lnTo>
                  <a:lnTo>
                    <a:pt x="298" y="540"/>
                  </a:lnTo>
                  <a:lnTo>
                    <a:pt x="265" y="552"/>
                  </a:lnTo>
                  <a:lnTo>
                    <a:pt x="228" y="559"/>
                  </a:lnTo>
                  <a:lnTo>
                    <a:pt x="228" y="625"/>
                  </a:lnTo>
                  <a:lnTo>
                    <a:pt x="169" y="625"/>
                  </a:lnTo>
                  <a:lnTo>
                    <a:pt x="169" y="562"/>
                  </a:lnTo>
                  <a:lnTo>
                    <a:pt x="136" y="556"/>
                  </a:lnTo>
                  <a:lnTo>
                    <a:pt x="107" y="547"/>
                  </a:lnTo>
                  <a:lnTo>
                    <a:pt x="80" y="534"/>
                  </a:lnTo>
                  <a:lnTo>
                    <a:pt x="56" y="516"/>
                  </a:lnTo>
                  <a:lnTo>
                    <a:pt x="37" y="495"/>
                  </a:lnTo>
                  <a:lnTo>
                    <a:pt x="19" y="471"/>
                  </a:lnTo>
                  <a:lnTo>
                    <a:pt x="8" y="442"/>
                  </a:lnTo>
                  <a:lnTo>
                    <a:pt x="0" y="409"/>
                  </a:lnTo>
                  <a:lnTo>
                    <a:pt x="105" y="400"/>
                  </a:lnTo>
                  <a:lnTo>
                    <a:pt x="111" y="417"/>
                  </a:lnTo>
                  <a:lnTo>
                    <a:pt x="120" y="433"/>
                  </a:lnTo>
                  <a:lnTo>
                    <a:pt x="131" y="447"/>
                  </a:lnTo>
                  <a:lnTo>
                    <a:pt x="142" y="459"/>
                  </a:lnTo>
                  <a:lnTo>
                    <a:pt x="156" y="470"/>
                  </a:lnTo>
                  <a:lnTo>
                    <a:pt x="169" y="477"/>
                  </a:lnTo>
                  <a:lnTo>
                    <a:pt x="169" y="330"/>
                  </a:lnTo>
                  <a:lnTo>
                    <a:pt x="132" y="320"/>
                  </a:lnTo>
                  <a:lnTo>
                    <a:pt x="101" y="305"/>
                  </a:lnTo>
                  <a:lnTo>
                    <a:pt x="75" y="289"/>
                  </a:lnTo>
                  <a:lnTo>
                    <a:pt x="54" y="271"/>
                  </a:lnTo>
                  <a:lnTo>
                    <a:pt x="38" y="251"/>
                  </a:lnTo>
                  <a:lnTo>
                    <a:pt x="26" y="227"/>
                  </a:lnTo>
                  <a:lnTo>
                    <a:pt x="19" y="202"/>
                  </a:lnTo>
                  <a:lnTo>
                    <a:pt x="17" y="175"/>
                  </a:lnTo>
                  <a:lnTo>
                    <a:pt x="19" y="147"/>
                  </a:lnTo>
                  <a:lnTo>
                    <a:pt x="27" y="122"/>
                  </a:lnTo>
                  <a:lnTo>
                    <a:pt x="39" y="99"/>
                  </a:lnTo>
                  <a:lnTo>
                    <a:pt x="58" y="78"/>
                  </a:lnTo>
                  <a:lnTo>
                    <a:pt x="80" y="61"/>
                  </a:lnTo>
                  <a:lnTo>
                    <a:pt x="107" y="48"/>
                  </a:lnTo>
                  <a:lnTo>
                    <a:pt x="136" y="40"/>
                  </a:lnTo>
                  <a:lnTo>
                    <a:pt x="169" y="34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051307" y="4646842"/>
            <a:ext cx="1371600" cy="1334345"/>
            <a:chOff x="4011613" y="1414463"/>
            <a:chExt cx="4149725" cy="4037013"/>
          </a:xfrm>
        </p:grpSpPr>
        <p:sp>
          <p:nvSpPr>
            <p:cNvPr id="31" name="Freeform 6"/>
            <p:cNvSpPr>
              <a:spLocks/>
            </p:cNvSpPr>
            <p:nvPr/>
          </p:nvSpPr>
          <p:spPr bwMode="auto">
            <a:xfrm>
              <a:off x="4154488" y="1446213"/>
              <a:ext cx="4006850" cy="4005263"/>
            </a:xfrm>
            <a:custGeom>
              <a:avLst/>
              <a:gdLst/>
              <a:ahLst/>
              <a:cxnLst>
                <a:cxn ang="0">
                  <a:pos x="1341" y="3"/>
                </a:cxn>
                <a:cxn ang="0">
                  <a:pos x="1497" y="23"/>
                </a:cxn>
                <a:cxn ang="0">
                  <a:pos x="1646" y="60"/>
                </a:cxn>
                <a:cxn ang="0">
                  <a:pos x="1788" y="115"/>
                </a:cxn>
                <a:cxn ang="0">
                  <a:pos x="1920" y="186"/>
                </a:cxn>
                <a:cxn ang="0">
                  <a:pos x="2043" y="271"/>
                </a:cxn>
                <a:cxn ang="0">
                  <a:pos x="2154" y="369"/>
                </a:cxn>
                <a:cxn ang="0">
                  <a:pos x="2254" y="481"/>
                </a:cxn>
                <a:cxn ang="0">
                  <a:pos x="2339" y="604"/>
                </a:cxn>
                <a:cxn ang="0">
                  <a:pos x="2409" y="736"/>
                </a:cxn>
                <a:cxn ang="0">
                  <a:pos x="2464" y="877"/>
                </a:cxn>
                <a:cxn ang="0">
                  <a:pos x="2502" y="1026"/>
                </a:cxn>
                <a:cxn ang="0">
                  <a:pos x="2521" y="1182"/>
                </a:cxn>
                <a:cxn ang="0">
                  <a:pos x="2521" y="1341"/>
                </a:cxn>
                <a:cxn ang="0">
                  <a:pos x="2502" y="1497"/>
                </a:cxn>
                <a:cxn ang="0">
                  <a:pos x="2464" y="1645"/>
                </a:cxn>
                <a:cxn ang="0">
                  <a:pos x="2409" y="1787"/>
                </a:cxn>
                <a:cxn ang="0">
                  <a:pos x="2339" y="1920"/>
                </a:cxn>
                <a:cxn ang="0">
                  <a:pos x="2254" y="2042"/>
                </a:cxn>
                <a:cxn ang="0">
                  <a:pos x="2154" y="2153"/>
                </a:cxn>
                <a:cxn ang="0">
                  <a:pos x="2043" y="2253"/>
                </a:cxn>
                <a:cxn ang="0">
                  <a:pos x="1920" y="2338"/>
                </a:cxn>
                <a:cxn ang="0">
                  <a:pos x="1788" y="2409"/>
                </a:cxn>
                <a:cxn ang="0">
                  <a:pos x="1646" y="2464"/>
                </a:cxn>
                <a:cxn ang="0">
                  <a:pos x="1497" y="2501"/>
                </a:cxn>
                <a:cxn ang="0">
                  <a:pos x="1341" y="2521"/>
                </a:cxn>
                <a:cxn ang="0">
                  <a:pos x="1182" y="2521"/>
                </a:cxn>
                <a:cxn ang="0">
                  <a:pos x="1027" y="2501"/>
                </a:cxn>
                <a:cxn ang="0">
                  <a:pos x="878" y="2464"/>
                </a:cxn>
                <a:cxn ang="0">
                  <a:pos x="736" y="2409"/>
                </a:cxn>
                <a:cxn ang="0">
                  <a:pos x="603" y="2338"/>
                </a:cxn>
                <a:cxn ang="0">
                  <a:pos x="481" y="2253"/>
                </a:cxn>
                <a:cxn ang="0">
                  <a:pos x="370" y="2153"/>
                </a:cxn>
                <a:cxn ang="0">
                  <a:pos x="270" y="2042"/>
                </a:cxn>
                <a:cxn ang="0">
                  <a:pos x="185" y="1920"/>
                </a:cxn>
                <a:cxn ang="0">
                  <a:pos x="114" y="1787"/>
                </a:cxn>
                <a:cxn ang="0">
                  <a:pos x="60" y="1645"/>
                </a:cxn>
                <a:cxn ang="0">
                  <a:pos x="22" y="1497"/>
                </a:cxn>
                <a:cxn ang="0">
                  <a:pos x="2" y="1341"/>
                </a:cxn>
                <a:cxn ang="0">
                  <a:pos x="2" y="1182"/>
                </a:cxn>
                <a:cxn ang="0">
                  <a:pos x="22" y="1026"/>
                </a:cxn>
                <a:cxn ang="0">
                  <a:pos x="60" y="877"/>
                </a:cxn>
                <a:cxn ang="0">
                  <a:pos x="114" y="736"/>
                </a:cxn>
                <a:cxn ang="0">
                  <a:pos x="185" y="604"/>
                </a:cxn>
                <a:cxn ang="0">
                  <a:pos x="270" y="481"/>
                </a:cxn>
                <a:cxn ang="0">
                  <a:pos x="370" y="369"/>
                </a:cxn>
                <a:cxn ang="0">
                  <a:pos x="481" y="271"/>
                </a:cxn>
                <a:cxn ang="0">
                  <a:pos x="603" y="186"/>
                </a:cxn>
                <a:cxn ang="0">
                  <a:pos x="736" y="115"/>
                </a:cxn>
                <a:cxn ang="0">
                  <a:pos x="878" y="60"/>
                </a:cxn>
                <a:cxn ang="0">
                  <a:pos x="1027" y="23"/>
                </a:cxn>
                <a:cxn ang="0">
                  <a:pos x="1182" y="3"/>
                </a:cxn>
              </a:cxnLst>
              <a:rect l="0" t="0" r="r" b="b"/>
              <a:pathLst>
                <a:path w="2524" h="2523">
                  <a:moveTo>
                    <a:pt x="1262" y="0"/>
                  </a:moveTo>
                  <a:lnTo>
                    <a:pt x="1341" y="3"/>
                  </a:lnTo>
                  <a:lnTo>
                    <a:pt x="1420" y="10"/>
                  </a:lnTo>
                  <a:lnTo>
                    <a:pt x="1497" y="23"/>
                  </a:lnTo>
                  <a:lnTo>
                    <a:pt x="1573" y="39"/>
                  </a:lnTo>
                  <a:lnTo>
                    <a:pt x="1646" y="60"/>
                  </a:lnTo>
                  <a:lnTo>
                    <a:pt x="1718" y="86"/>
                  </a:lnTo>
                  <a:lnTo>
                    <a:pt x="1788" y="115"/>
                  </a:lnTo>
                  <a:lnTo>
                    <a:pt x="1855" y="148"/>
                  </a:lnTo>
                  <a:lnTo>
                    <a:pt x="1920" y="186"/>
                  </a:lnTo>
                  <a:lnTo>
                    <a:pt x="1982" y="226"/>
                  </a:lnTo>
                  <a:lnTo>
                    <a:pt x="2043" y="271"/>
                  </a:lnTo>
                  <a:lnTo>
                    <a:pt x="2100" y="318"/>
                  </a:lnTo>
                  <a:lnTo>
                    <a:pt x="2154" y="369"/>
                  </a:lnTo>
                  <a:lnTo>
                    <a:pt x="2205" y="424"/>
                  </a:lnTo>
                  <a:lnTo>
                    <a:pt x="2254" y="481"/>
                  </a:lnTo>
                  <a:lnTo>
                    <a:pt x="2298" y="541"/>
                  </a:lnTo>
                  <a:lnTo>
                    <a:pt x="2339" y="604"/>
                  </a:lnTo>
                  <a:lnTo>
                    <a:pt x="2376" y="668"/>
                  </a:lnTo>
                  <a:lnTo>
                    <a:pt x="2409" y="736"/>
                  </a:lnTo>
                  <a:lnTo>
                    <a:pt x="2439" y="806"/>
                  </a:lnTo>
                  <a:lnTo>
                    <a:pt x="2464" y="877"/>
                  </a:lnTo>
                  <a:lnTo>
                    <a:pt x="2486" y="951"/>
                  </a:lnTo>
                  <a:lnTo>
                    <a:pt x="2502" y="1026"/>
                  </a:lnTo>
                  <a:lnTo>
                    <a:pt x="2514" y="1103"/>
                  </a:lnTo>
                  <a:lnTo>
                    <a:pt x="2521" y="1182"/>
                  </a:lnTo>
                  <a:lnTo>
                    <a:pt x="2524" y="1261"/>
                  </a:lnTo>
                  <a:lnTo>
                    <a:pt x="2521" y="1341"/>
                  </a:lnTo>
                  <a:lnTo>
                    <a:pt x="2514" y="1420"/>
                  </a:lnTo>
                  <a:lnTo>
                    <a:pt x="2502" y="1497"/>
                  </a:lnTo>
                  <a:lnTo>
                    <a:pt x="2486" y="1572"/>
                  </a:lnTo>
                  <a:lnTo>
                    <a:pt x="2464" y="1645"/>
                  </a:lnTo>
                  <a:lnTo>
                    <a:pt x="2439" y="1717"/>
                  </a:lnTo>
                  <a:lnTo>
                    <a:pt x="2409" y="1787"/>
                  </a:lnTo>
                  <a:lnTo>
                    <a:pt x="2376" y="1855"/>
                  </a:lnTo>
                  <a:lnTo>
                    <a:pt x="2339" y="1920"/>
                  </a:lnTo>
                  <a:lnTo>
                    <a:pt x="2298" y="1982"/>
                  </a:lnTo>
                  <a:lnTo>
                    <a:pt x="2254" y="2042"/>
                  </a:lnTo>
                  <a:lnTo>
                    <a:pt x="2205" y="2099"/>
                  </a:lnTo>
                  <a:lnTo>
                    <a:pt x="2154" y="2153"/>
                  </a:lnTo>
                  <a:lnTo>
                    <a:pt x="2100" y="2204"/>
                  </a:lnTo>
                  <a:lnTo>
                    <a:pt x="2043" y="2253"/>
                  </a:lnTo>
                  <a:lnTo>
                    <a:pt x="1982" y="2297"/>
                  </a:lnTo>
                  <a:lnTo>
                    <a:pt x="1920" y="2338"/>
                  </a:lnTo>
                  <a:lnTo>
                    <a:pt x="1855" y="2375"/>
                  </a:lnTo>
                  <a:lnTo>
                    <a:pt x="1788" y="2409"/>
                  </a:lnTo>
                  <a:lnTo>
                    <a:pt x="1718" y="2438"/>
                  </a:lnTo>
                  <a:lnTo>
                    <a:pt x="1646" y="2464"/>
                  </a:lnTo>
                  <a:lnTo>
                    <a:pt x="1573" y="2485"/>
                  </a:lnTo>
                  <a:lnTo>
                    <a:pt x="1497" y="2501"/>
                  </a:lnTo>
                  <a:lnTo>
                    <a:pt x="1420" y="2514"/>
                  </a:lnTo>
                  <a:lnTo>
                    <a:pt x="1341" y="2521"/>
                  </a:lnTo>
                  <a:lnTo>
                    <a:pt x="1262" y="2523"/>
                  </a:lnTo>
                  <a:lnTo>
                    <a:pt x="1182" y="2521"/>
                  </a:lnTo>
                  <a:lnTo>
                    <a:pt x="1104" y="2514"/>
                  </a:lnTo>
                  <a:lnTo>
                    <a:pt x="1027" y="2501"/>
                  </a:lnTo>
                  <a:lnTo>
                    <a:pt x="951" y="2485"/>
                  </a:lnTo>
                  <a:lnTo>
                    <a:pt x="878" y="2464"/>
                  </a:lnTo>
                  <a:lnTo>
                    <a:pt x="806" y="2438"/>
                  </a:lnTo>
                  <a:lnTo>
                    <a:pt x="736" y="2409"/>
                  </a:lnTo>
                  <a:lnTo>
                    <a:pt x="669" y="2375"/>
                  </a:lnTo>
                  <a:lnTo>
                    <a:pt x="603" y="2338"/>
                  </a:lnTo>
                  <a:lnTo>
                    <a:pt x="541" y="2297"/>
                  </a:lnTo>
                  <a:lnTo>
                    <a:pt x="481" y="2253"/>
                  </a:lnTo>
                  <a:lnTo>
                    <a:pt x="424" y="2204"/>
                  </a:lnTo>
                  <a:lnTo>
                    <a:pt x="370" y="2153"/>
                  </a:lnTo>
                  <a:lnTo>
                    <a:pt x="319" y="2099"/>
                  </a:lnTo>
                  <a:lnTo>
                    <a:pt x="270" y="2042"/>
                  </a:lnTo>
                  <a:lnTo>
                    <a:pt x="226" y="1982"/>
                  </a:lnTo>
                  <a:lnTo>
                    <a:pt x="185" y="1920"/>
                  </a:lnTo>
                  <a:lnTo>
                    <a:pt x="148" y="1855"/>
                  </a:lnTo>
                  <a:lnTo>
                    <a:pt x="114" y="1787"/>
                  </a:lnTo>
                  <a:lnTo>
                    <a:pt x="85" y="1717"/>
                  </a:lnTo>
                  <a:lnTo>
                    <a:pt x="60" y="1645"/>
                  </a:lnTo>
                  <a:lnTo>
                    <a:pt x="38" y="1572"/>
                  </a:lnTo>
                  <a:lnTo>
                    <a:pt x="22" y="1497"/>
                  </a:lnTo>
                  <a:lnTo>
                    <a:pt x="9" y="1420"/>
                  </a:lnTo>
                  <a:lnTo>
                    <a:pt x="2" y="1341"/>
                  </a:lnTo>
                  <a:lnTo>
                    <a:pt x="0" y="1261"/>
                  </a:lnTo>
                  <a:lnTo>
                    <a:pt x="2" y="1182"/>
                  </a:lnTo>
                  <a:lnTo>
                    <a:pt x="9" y="1103"/>
                  </a:lnTo>
                  <a:lnTo>
                    <a:pt x="22" y="1026"/>
                  </a:lnTo>
                  <a:lnTo>
                    <a:pt x="38" y="951"/>
                  </a:lnTo>
                  <a:lnTo>
                    <a:pt x="60" y="877"/>
                  </a:lnTo>
                  <a:lnTo>
                    <a:pt x="85" y="806"/>
                  </a:lnTo>
                  <a:lnTo>
                    <a:pt x="114" y="736"/>
                  </a:lnTo>
                  <a:lnTo>
                    <a:pt x="148" y="668"/>
                  </a:lnTo>
                  <a:lnTo>
                    <a:pt x="185" y="604"/>
                  </a:lnTo>
                  <a:lnTo>
                    <a:pt x="226" y="541"/>
                  </a:lnTo>
                  <a:lnTo>
                    <a:pt x="270" y="481"/>
                  </a:lnTo>
                  <a:lnTo>
                    <a:pt x="319" y="424"/>
                  </a:lnTo>
                  <a:lnTo>
                    <a:pt x="370" y="369"/>
                  </a:lnTo>
                  <a:lnTo>
                    <a:pt x="424" y="318"/>
                  </a:lnTo>
                  <a:lnTo>
                    <a:pt x="481" y="271"/>
                  </a:lnTo>
                  <a:lnTo>
                    <a:pt x="541" y="226"/>
                  </a:lnTo>
                  <a:lnTo>
                    <a:pt x="603" y="186"/>
                  </a:lnTo>
                  <a:lnTo>
                    <a:pt x="669" y="148"/>
                  </a:lnTo>
                  <a:lnTo>
                    <a:pt x="736" y="115"/>
                  </a:lnTo>
                  <a:lnTo>
                    <a:pt x="806" y="86"/>
                  </a:lnTo>
                  <a:lnTo>
                    <a:pt x="878" y="60"/>
                  </a:lnTo>
                  <a:lnTo>
                    <a:pt x="951" y="39"/>
                  </a:lnTo>
                  <a:lnTo>
                    <a:pt x="1027" y="23"/>
                  </a:lnTo>
                  <a:lnTo>
                    <a:pt x="1104" y="10"/>
                  </a:lnTo>
                  <a:lnTo>
                    <a:pt x="1182" y="3"/>
                  </a:lnTo>
                  <a:lnTo>
                    <a:pt x="1262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4011613" y="1416050"/>
              <a:ext cx="1997075" cy="4002088"/>
            </a:xfrm>
            <a:custGeom>
              <a:avLst/>
              <a:gdLst/>
              <a:ahLst/>
              <a:cxnLst>
                <a:cxn ang="0">
                  <a:pos x="1258" y="0"/>
                </a:cxn>
                <a:cxn ang="0">
                  <a:pos x="1258" y="2521"/>
                </a:cxn>
                <a:cxn ang="0">
                  <a:pos x="1179" y="2519"/>
                </a:cxn>
                <a:cxn ang="0">
                  <a:pos x="1101" y="2511"/>
                </a:cxn>
                <a:cxn ang="0">
                  <a:pos x="1023" y="2499"/>
                </a:cxn>
                <a:cxn ang="0">
                  <a:pos x="948" y="2483"/>
                </a:cxn>
                <a:cxn ang="0">
                  <a:pos x="875" y="2461"/>
                </a:cxn>
                <a:cxn ang="0">
                  <a:pos x="803" y="2436"/>
                </a:cxn>
                <a:cxn ang="0">
                  <a:pos x="734" y="2406"/>
                </a:cxn>
                <a:cxn ang="0">
                  <a:pos x="666" y="2373"/>
                </a:cxn>
                <a:cxn ang="0">
                  <a:pos x="602" y="2335"/>
                </a:cxn>
                <a:cxn ang="0">
                  <a:pos x="539" y="2295"/>
                </a:cxn>
                <a:cxn ang="0">
                  <a:pos x="480" y="2250"/>
                </a:cxn>
                <a:cxn ang="0">
                  <a:pos x="422" y="2203"/>
                </a:cxn>
                <a:cxn ang="0">
                  <a:pos x="368" y="2151"/>
                </a:cxn>
                <a:cxn ang="0">
                  <a:pos x="317" y="2097"/>
                </a:cxn>
                <a:cxn ang="0">
                  <a:pos x="270" y="2040"/>
                </a:cxn>
                <a:cxn ang="0">
                  <a:pos x="225" y="1980"/>
                </a:cxn>
                <a:cxn ang="0">
                  <a:pos x="185" y="1918"/>
                </a:cxn>
                <a:cxn ang="0">
                  <a:pos x="147" y="1853"/>
                </a:cxn>
                <a:cxn ang="0">
                  <a:pos x="114" y="1785"/>
                </a:cxn>
                <a:cxn ang="0">
                  <a:pos x="84" y="1716"/>
                </a:cxn>
                <a:cxn ang="0">
                  <a:pos x="60" y="1645"/>
                </a:cxn>
                <a:cxn ang="0">
                  <a:pos x="38" y="1571"/>
                </a:cxn>
                <a:cxn ang="0">
                  <a:pos x="22" y="1495"/>
                </a:cxn>
                <a:cxn ang="0">
                  <a:pos x="10" y="1419"/>
                </a:cxn>
                <a:cxn ang="0">
                  <a:pos x="2" y="1340"/>
                </a:cxn>
                <a:cxn ang="0">
                  <a:pos x="0" y="1261"/>
                </a:cxn>
                <a:cxn ang="0">
                  <a:pos x="2" y="1181"/>
                </a:cxn>
                <a:cxn ang="0">
                  <a:pos x="10" y="1102"/>
                </a:cxn>
                <a:cxn ang="0">
                  <a:pos x="22" y="1026"/>
                </a:cxn>
                <a:cxn ang="0">
                  <a:pos x="38" y="950"/>
                </a:cxn>
                <a:cxn ang="0">
                  <a:pos x="60" y="877"/>
                </a:cxn>
                <a:cxn ang="0">
                  <a:pos x="84" y="805"/>
                </a:cxn>
                <a:cxn ang="0">
                  <a:pos x="114" y="736"/>
                </a:cxn>
                <a:cxn ang="0">
                  <a:pos x="147" y="668"/>
                </a:cxn>
                <a:cxn ang="0">
                  <a:pos x="185" y="603"/>
                </a:cxn>
                <a:cxn ang="0">
                  <a:pos x="225" y="541"/>
                </a:cxn>
                <a:cxn ang="0">
                  <a:pos x="270" y="481"/>
                </a:cxn>
                <a:cxn ang="0">
                  <a:pos x="317" y="424"/>
                </a:cxn>
                <a:cxn ang="0">
                  <a:pos x="368" y="370"/>
                </a:cxn>
                <a:cxn ang="0">
                  <a:pos x="422" y="318"/>
                </a:cxn>
                <a:cxn ang="0">
                  <a:pos x="480" y="271"/>
                </a:cxn>
                <a:cxn ang="0">
                  <a:pos x="539" y="226"/>
                </a:cxn>
                <a:cxn ang="0">
                  <a:pos x="602" y="186"/>
                </a:cxn>
                <a:cxn ang="0">
                  <a:pos x="666" y="148"/>
                </a:cxn>
                <a:cxn ang="0">
                  <a:pos x="734" y="115"/>
                </a:cxn>
                <a:cxn ang="0">
                  <a:pos x="803" y="85"/>
                </a:cxn>
                <a:cxn ang="0">
                  <a:pos x="875" y="60"/>
                </a:cxn>
                <a:cxn ang="0">
                  <a:pos x="948" y="39"/>
                </a:cxn>
                <a:cxn ang="0">
                  <a:pos x="1023" y="22"/>
                </a:cxn>
                <a:cxn ang="0">
                  <a:pos x="1101" y="10"/>
                </a:cxn>
                <a:cxn ang="0">
                  <a:pos x="1179" y="2"/>
                </a:cxn>
                <a:cxn ang="0">
                  <a:pos x="1258" y="0"/>
                </a:cxn>
              </a:cxnLst>
              <a:rect l="0" t="0" r="r" b="b"/>
              <a:pathLst>
                <a:path w="1258" h="2521">
                  <a:moveTo>
                    <a:pt x="1258" y="0"/>
                  </a:moveTo>
                  <a:lnTo>
                    <a:pt x="1258" y="2521"/>
                  </a:lnTo>
                  <a:lnTo>
                    <a:pt x="1179" y="2519"/>
                  </a:lnTo>
                  <a:lnTo>
                    <a:pt x="1101" y="2511"/>
                  </a:lnTo>
                  <a:lnTo>
                    <a:pt x="1023" y="2499"/>
                  </a:lnTo>
                  <a:lnTo>
                    <a:pt x="948" y="2483"/>
                  </a:lnTo>
                  <a:lnTo>
                    <a:pt x="875" y="2461"/>
                  </a:lnTo>
                  <a:lnTo>
                    <a:pt x="803" y="2436"/>
                  </a:lnTo>
                  <a:lnTo>
                    <a:pt x="734" y="2406"/>
                  </a:lnTo>
                  <a:lnTo>
                    <a:pt x="666" y="2373"/>
                  </a:lnTo>
                  <a:lnTo>
                    <a:pt x="602" y="2335"/>
                  </a:lnTo>
                  <a:lnTo>
                    <a:pt x="539" y="2295"/>
                  </a:lnTo>
                  <a:lnTo>
                    <a:pt x="480" y="2250"/>
                  </a:lnTo>
                  <a:lnTo>
                    <a:pt x="422" y="2203"/>
                  </a:lnTo>
                  <a:lnTo>
                    <a:pt x="368" y="2151"/>
                  </a:lnTo>
                  <a:lnTo>
                    <a:pt x="317" y="2097"/>
                  </a:lnTo>
                  <a:lnTo>
                    <a:pt x="270" y="2040"/>
                  </a:lnTo>
                  <a:lnTo>
                    <a:pt x="225" y="1980"/>
                  </a:lnTo>
                  <a:lnTo>
                    <a:pt x="185" y="1918"/>
                  </a:lnTo>
                  <a:lnTo>
                    <a:pt x="147" y="1853"/>
                  </a:lnTo>
                  <a:lnTo>
                    <a:pt x="114" y="1785"/>
                  </a:lnTo>
                  <a:lnTo>
                    <a:pt x="84" y="1716"/>
                  </a:lnTo>
                  <a:lnTo>
                    <a:pt x="60" y="1645"/>
                  </a:lnTo>
                  <a:lnTo>
                    <a:pt x="38" y="1571"/>
                  </a:lnTo>
                  <a:lnTo>
                    <a:pt x="22" y="1495"/>
                  </a:lnTo>
                  <a:lnTo>
                    <a:pt x="10" y="1419"/>
                  </a:lnTo>
                  <a:lnTo>
                    <a:pt x="2" y="1340"/>
                  </a:lnTo>
                  <a:lnTo>
                    <a:pt x="0" y="1261"/>
                  </a:lnTo>
                  <a:lnTo>
                    <a:pt x="2" y="1181"/>
                  </a:lnTo>
                  <a:lnTo>
                    <a:pt x="10" y="1102"/>
                  </a:lnTo>
                  <a:lnTo>
                    <a:pt x="22" y="1026"/>
                  </a:lnTo>
                  <a:lnTo>
                    <a:pt x="38" y="950"/>
                  </a:lnTo>
                  <a:lnTo>
                    <a:pt x="60" y="877"/>
                  </a:lnTo>
                  <a:lnTo>
                    <a:pt x="84" y="805"/>
                  </a:lnTo>
                  <a:lnTo>
                    <a:pt x="114" y="736"/>
                  </a:lnTo>
                  <a:lnTo>
                    <a:pt x="147" y="668"/>
                  </a:lnTo>
                  <a:lnTo>
                    <a:pt x="185" y="603"/>
                  </a:lnTo>
                  <a:lnTo>
                    <a:pt x="225" y="541"/>
                  </a:lnTo>
                  <a:lnTo>
                    <a:pt x="270" y="481"/>
                  </a:lnTo>
                  <a:lnTo>
                    <a:pt x="317" y="424"/>
                  </a:lnTo>
                  <a:lnTo>
                    <a:pt x="368" y="370"/>
                  </a:lnTo>
                  <a:lnTo>
                    <a:pt x="422" y="318"/>
                  </a:lnTo>
                  <a:lnTo>
                    <a:pt x="480" y="271"/>
                  </a:lnTo>
                  <a:lnTo>
                    <a:pt x="539" y="226"/>
                  </a:lnTo>
                  <a:lnTo>
                    <a:pt x="602" y="186"/>
                  </a:lnTo>
                  <a:lnTo>
                    <a:pt x="666" y="148"/>
                  </a:lnTo>
                  <a:lnTo>
                    <a:pt x="734" y="115"/>
                  </a:lnTo>
                  <a:lnTo>
                    <a:pt x="803" y="85"/>
                  </a:lnTo>
                  <a:lnTo>
                    <a:pt x="875" y="60"/>
                  </a:lnTo>
                  <a:lnTo>
                    <a:pt x="948" y="39"/>
                  </a:lnTo>
                  <a:lnTo>
                    <a:pt x="1023" y="22"/>
                  </a:lnTo>
                  <a:lnTo>
                    <a:pt x="1101" y="10"/>
                  </a:lnTo>
                  <a:lnTo>
                    <a:pt x="1179" y="2"/>
                  </a:lnTo>
                  <a:lnTo>
                    <a:pt x="1258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6008688" y="1414463"/>
              <a:ext cx="2008188" cy="40052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84" y="2"/>
                </a:cxn>
                <a:cxn ang="0">
                  <a:pos x="162" y="9"/>
                </a:cxn>
                <a:cxn ang="0">
                  <a:pos x="239" y="22"/>
                </a:cxn>
                <a:cxn ang="0">
                  <a:pos x="315" y="38"/>
                </a:cxn>
                <a:cxn ang="0">
                  <a:pos x="388" y="59"/>
                </a:cxn>
                <a:cxn ang="0">
                  <a:pos x="460" y="85"/>
                </a:cxn>
                <a:cxn ang="0">
                  <a:pos x="530" y="114"/>
                </a:cxn>
                <a:cxn ang="0">
                  <a:pos x="597" y="148"/>
                </a:cxn>
                <a:cxn ang="0">
                  <a:pos x="662" y="185"/>
                </a:cxn>
                <a:cxn ang="0">
                  <a:pos x="724" y="226"/>
                </a:cxn>
                <a:cxn ang="0">
                  <a:pos x="785" y="270"/>
                </a:cxn>
                <a:cxn ang="0">
                  <a:pos x="841" y="319"/>
                </a:cxn>
                <a:cxn ang="0">
                  <a:pos x="896" y="369"/>
                </a:cxn>
                <a:cxn ang="0">
                  <a:pos x="947" y="424"/>
                </a:cxn>
                <a:cxn ang="0">
                  <a:pos x="995" y="481"/>
                </a:cxn>
                <a:cxn ang="0">
                  <a:pos x="1039" y="541"/>
                </a:cxn>
                <a:cxn ang="0">
                  <a:pos x="1080" y="603"/>
                </a:cxn>
                <a:cxn ang="0">
                  <a:pos x="1117" y="668"/>
                </a:cxn>
                <a:cxn ang="0">
                  <a:pos x="1151" y="736"/>
                </a:cxn>
                <a:cxn ang="0">
                  <a:pos x="1180" y="806"/>
                </a:cxn>
                <a:cxn ang="0">
                  <a:pos x="1206" y="878"/>
                </a:cxn>
                <a:cxn ang="0">
                  <a:pos x="1227" y="951"/>
                </a:cxn>
                <a:cxn ang="0">
                  <a:pos x="1243" y="1026"/>
                </a:cxn>
                <a:cxn ang="0">
                  <a:pos x="1256" y="1103"/>
                </a:cxn>
                <a:cxn ang="0">
                  <a:pos x="1263" y="1182"/>
                </a:cxn>
                <a:cxn ang="0">
                  <a:pos x="1265" y="1262"/>
                </a:cxn>
                <a:cxn ang="0">
                  <a:pos x="1263" y="1341"/>
                </a:cxn>
                <a:cxn ang="0">
                  <a:pos x="1256" y="1420"/>
                </a:cxn>
                <a:cxn ang="0">
                  <a:pos x="1243" y="1497"/>
                </a:cxn>
                <a:cxn ang="0">
                  <a:pos x="1227" y="1572"/>
                </a:cxn>
                <a:cxn ang="0">
                  <a:pos x="1206" y="1646"/>
                </a:cxn>
                <a:cxn ang="0">
                  <a:pos x="1180" y="1717"/>
                </a:cxn>
                <a:cxn ang="0">
                  <a:pos x="1151" y="1787"/>
                </a:cxn>
                <a:cxn ang="0">
                  <a:pos x="1117" y="1855"/>
                </a:cxn>
                <a:cxn ang="0">
                  <a:pos x="1080" y="1920"/>
                </a:cxn>
                <a:cxn ang="0">
                  <a:pos x="1039" y="1982"/>
                </a:cxn>
                <a:cxn ang="0">
                  <a:pos x="995" y="2042"/>
                </a:cxn>
                <a:cxn ang="0">
                  <a:pos x="947" y="2100"/>
                </a:cxn>
                <a:cxn ang="0">
                  <a:pos x="896" y="2154"/>
                </a:cxn>
                <a:cxn ang="0">
                  <a:pos x="841" y="2204"/>
                </a:cxn>
                <a:cxn ang="0">
                  <a:pos x="785" y="2253"/>
                </a:cxn>
                <a:cxn ang="0">
                  <a:pos x="724" y="2297"/>
                </a:cxn>
                <a:cxn ang="0">
                  <a:pos x="662" y="2338"/>
                </a:cxn>
                <a:cxn ang="0">
                  <a:pos x="597" y="2375"/>
                </a:cxn>
                <a:cxn ang="0">
                  <a:pos x="530" y="2409"/>
                </a:cxn>
                <a:cxn ang="0">
                  <a:pos x="460" y="2438"/>
                </a:cxn>
                <a:cxn ang="0">
                  <a:pos x="388" y="2464"/>
                </a:cxn>
                <a:cxn ang="0">
                  <a:pos x="315" y="2485"/>
                </a:cxn>
                <a:cxn ang="0">
                  <a:pos x="239" y="2501"/>
                </a:cxn>
                <a:cxn ang="0">
                  <a:pos x="162" y="2514"/>
                </a:cxn>
                <a:cxn ang="0">
                  <a:pos x="84" y="2521"/>
                </a:cxn>
                <a:cxn ang="0">
                  <a:pos x="4" y="2523"/>
                </a:cxn>
                <a:cxn ang="0">
                  <a:pos x="2" y="2523"/>
                </a:cxn>
                <a:cxn ang="0">
                  <a:pos x="2" y="2522"/>
                </a:cxn>
                <a:cxn ang="0">
                  <a:pos x="0" y="2522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1265" h="2523">
                  <a:moveTo>
                    <a:pt x="2" y="0"/>
                  </a:moveTo>
                  <a:lnTo>
                    <a:pt x="4" y="0"/>
                  </a:lnTo>
                  <a:lnTo>
                    <a:pt x="84" y="2"/>
                  </a:lnTo>
                  <a:lnTo>
                    <a:pt x="162" y="9"/>
                  </a:lnTo>
                  <a:lnTo>
                    <a:pt x="239" y="22"/>
                  </a:lnTo>
                  <a:lnTo>
                    <a:pt x="315" y="38"/>
                  </a:lnTo>
                  <a:lnTo>
                    <a:pt x="388" y="59"/>
                  </a:lnTo>
                  <a:lnTo>
                    <a:pt x="460" y="85"/>
                  </a:lnTo>
                  <a:lnTo>
                    <a:pt x="530" y="114"/>
                  </a:lnTo>
                  <a:lnTo>
                    <a:pt x="597" y="148"/>
                  </a:lnTo>
                  <a:lnTo>
                    <a:pt x="662" y="185"/>
                  </a:lnTo>
                  <a:lnTo>
                    <a:pt x="724" y="226"/>
                  </a:lnTo>
                  <a:lnTo>
                    <a:pt x="785" y="270"/>
                  </a:lnTo>
                  <a:lnTo>
                    <a:pt x="841" y="319"/>
                  </a:lnTo>
                  <a:lnTo>
                    <a:pt x="896" y="369"/>
                  </a:lnTo>
                  <a:lnTo>
                    <a:pt x="947" y="424"/>
                  </a:lnTo>
                  <a:lnTo>
                    <a:pt x="995" y="481"/>
                  </a:lnTo>
                  <a:lnTo>
                    <a:pt x="1039" y="541"/>
                  </a:lnTo>
                  <a:lnTo>
                    <a:pt x="1080" y="603"/>
                  </a:lnTo>
                  <a:lnTo>
                    <a:pt x="1117" y="668"/>
                  </a:lnTo>
                  <a:lnTo>
                    <a:pt x="1151" y="736"/>
                  </a:lnTo>
                  <a:lnTo>
                    <a:pt x="1180" y="806"/>
                  </a:lnTo>
                  <a:lnTo>
                    <a:pt x="1206" y="878"/>
                  </a:lnTo>
                  <a:lnTo>
                    <a:pt x="1227" y="951"/>
                  </a:lnTo>
                  <a:lnTo>
                    <a:pt x="1243" y="1026"/>
                  </a:lnTo>
                  <a:lnTo>
                    <a:pt x="1256" y="1103"/>
                  </a:lnTo>
                  <a:lnTo>
                    <a:pt x="1263" y="1182"/>
                  </a:lnTo>
                  <a:lnTo>
                    <a:pt x="1265" y="1262"/>
                  </a:lnTo>
                  <a:lnTo>
                    <a:pt x="1263" y="1341"/>
                  </a:lnTo>
                  <a:lnTo>
                    <a:pt x="1256" y="1420"/>
                  </a:lnTo>
                  <a:lnTo>
                    <a:pt x="1243" y="1497"/>
                  </a:lnTo>
                  <a:lnTo>
                    <a:pt x="1227" y="1572"/>
                  </a:lnTo>
                  <a:lnTo>
                    <a:pt x="1206" y="1646"/>
                  </a:lnTo>
                  <a:lnTo>
                    <a:pt x="1180" y="1717"/>
                  </a:lnTo>
                  <a:lnTo>
                    <a:pt x="1151" y="1787"/>
                  </a:lnTo>
                  <a:lnTo>
                    <a:pt x="1117" y="1855"/>
                  </a:lnTo>
                  <a:lnTo>
                    <a:pt x="1080" y="1920"/>
                  </a:lnTo>
                  <a:lnTo>
                    <a:pt x="1039" y="1982"/>
                  </a:lnTo>
                  <a:lnTo>
                    <a:pt x="995" y="2042"/>
                  </a:lnTo>
                  <a:lnTo>
                    <a:pt x="947" y="2100"/>
                  </a:lnTo>
                  <a:lnTo>
                    <a:pt x="896" y="2154"/>
                  </a:lnTo>
                  <a:lnTo>
                    <a:pt x="841" y="2204"/>
                  </a:lnTo>
                  <a:lnTo>
                    <a:pt x="785" y="2253"/>
                  </a:lnTo>
                  <a:lnTo>
                    <a:pt x="724" y="2297"/>
                  </a:lnTo>
                  <a:lnTo>
                    <a:pt x="662" y="2338"/>
                  </a:lnTo>
                  <a:lnTo>
                    <a:pt x="597" y="2375"/>
                  </a:lnTo>
                  <a:lnTo>
                    <a:pt x="530" y="2409"/>
                  </a:lnTo>
                  <a:lnTo>
                    <a:pt x="460" y="2438"/>
                  </a:lnTo>
                  <a:lnTo>
                    <a:pt x="388" y="2464"/>
                  </a:lnTo>
                  <a:lnTo>
                    <a:pt x="315" y="2485"/>
                  </a:lnTo>
                  <a:lnTo>
                    <a:pt x="239" y="2501"/>
                  </a:lnTo>
                  <a:lnTo>
                    <a:pt x="162" y="2514"/>
                  </a:lnTo>
                  <a:lnTo>
                    <a:pt x="84" y="2521"/>
                  </a:lnTo>
                  <a:lnTo>
                    <a:pt x="4" y="2523"/>
                  </a:lnTo>
                  <a:lnTo>
                    <a:pt x="2" y="2523"/>
                  </a:lnTo>
                  <a:lnTo>
                    <a:pt x="2" y="2522"/>
                  </a:lnTo>
                  <a:lnTo>
                    <a:pt x="0" y="2522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/>
            <p:cNvSpPr>
              <a:spLocks/>
            </p:cNvSpPr>
            <p:nvPr/>
          </p:nvSpPr>
          <p:spPr bwMode="auto">
            <a:xfrm>
              <a:off x="4265613" y="1668463"/>
              <a:ext cx="1743075" cy="3497263"/>
            </a:xfrm>
            <a:custGeom>
              <a:avLst/>
              <a:gdLst/>
              <a:ahLst/>
              <a:cxnLst>
                <a:cxn ang="0">
                  <a:pos x="1098" y="0"/>
                </a:cxn>
                <a:cxn ang="0">
                  <a:pos x="1098" y="2203"/>
                </a:cxn>
                <a:cxn ang="0">
                  <a:pos x="1023" y="2200"/>
                </a:cxn>
                <a:cxn ang="0">
                  <a:pos x="949" y="2192"/>
                </a:cxn>
                <a:cxn ang="0">
                  <a:pos x="877" y="2180"/>
                </a:cxn>
                <a:cxn ang="0">
                  <a:pos x="806" y="2163"/>
                </a:cxn>
                <a:cxn ang="0">
                  <a:pos x="737" y="2141"/>
                </a:cxn>
                <a:cxn ang="0">
                  <a:pos x="670" y="2115"/>
                </a:cxn>
                <a:cxn ang="0">
                  <a:pos x="606" y="2085"/>
                </a:cxn>
                <a:cxn ang="0">
                  <a:pos x="544" y="2052"/>
                </a:cxn>
                <a:cxn ang="0">
                  <a:pos x="484" y="2013"/>
                </a:cxn>
                <a:cxn ang="0">
                  <a:pos x="427" y="1972"/>
                </a:cxn>
                <a:cxn ang="0">
                  <a:pos x="373" y="1928"/>
                </a:cxn>
                <a:cxn ang="0">
                  <a:pos x="321" y="1879"/>
                </a:cxn>
                <a:cxn ang="0">
                  <a:pos x="273" y="1828"/>
                </a:cxn>
                <a:cxn ang="0">
                  <a:pos x="229" y="1773"/>
                </a:cxn>
                <a:cxn ang="0">
                  <a:pos x="188" y="1716"/>
                </a:cxn>
                <a:cxn ang="0">
                  <a:pos x="149" y="1656"/>
                </a:cxn>
                <a:cxn ang="0">
                  <a:pos x="116" y="1594"/>
                </a:cxn>
                <a:cxn ang="0">
                  <a:pos x="86" y="1529"/>
                </a:cxn>
                <a:cxn ang="0">
                  <a:pos x="60" y="1462"/>
                </a:cxn>
                <a:cxn ang="0">
                  <a:pos x="39" y="1394"/>
                </a:cxn>
                <a:cxn ang="0">
                  <a:pos x="22" y="1323"/>
                </a:cxn>
                <a:cxn ang="0">
                  <a:pos x="10" y="1251"/>
                </a:cxn>
                <a:cxn ang="0">
                  <a:pos x="2" y="1177"/>
                </a:cxn>
                <a:cxn ang="0">
                  <a:pos x="0" y="1102"/>
                </a:cxn>
                <a:cxn ang="0">
                  <a:pos x="2" y="1026"/>
                </a:cxn>
                <a:cxn ang="0">
                  <a:pos x="10" y="952"/>
                </a:cxn>
                <a:cxn ang="0">
                  <a:pos x="22" y="880"/>
                </a:cxn>
                <a:cxn ang="0">
                  <a:pos x="39" y="809"/>
                </a:cxn>
                <a:cxn ang="0">
                  <a:pos x="60" y="741"/>
                </a:cxn>
                <a:cxn ang="0">
                  <a:pos x="86" y="674"/>
                </a:cxn>
                <a:cxn ang="0">
                  <a:pos x="116" y="609"/>
                </a:cxn>
                <a:cxn ang="0">
                  <a:pos x="149" y="547"/>
                </a:cxn>
                <a:cxn ang="0">
                  <a:pos x="188" y="487"/>
                </a:cxn>
                <a:cxn ang="0">
                  <a:pos x="229" y="430"/>
                </a:cxn>
                <a:cxn ang="0">
                  <a:pos x="273" y="375"/>
                </a:cxn>
                <a:cxn ang="0">
                  <a:pos x="321" y="324"/>
                </a:cxn>
                <a:cxn ang="0">
                  <a:pos x="373" y="275"/>
                </a:cxn>
                <a:cxn ang="0">
                  <a:pos x="427" y="231"/>
                </a:cxn>
                <a:cxn ang="0">
                  <a:pos x="484" y="190"/>
                </a:cxn>
                <a:cxn ang="0">
                  <a:pos x="544" y="151"/>
                </a:cxn>
                <a:cxn ang="0">
                  <a:pos x="606" y="118"/>
                </a:cxn>
                <a:cxn ang="0">
                  <a:pos x="670" y="88"/>
                </a:cxn>
                <a:cxn ang="0">
                  <a:pos x="737" y="62"/>
                </a:cxn>
                <a:cxn ang="0">
                  <a:pos x="806" y="40"/>
                </a:cxn>
                <a:cxn ang="0">
                  <a:pos x="877" y="23"/>
                </a:cxn>
                <a:cxn ang="0">
                  <a:pos x="949" y="11"/>
                </a:cxn>
                <a:cxn ang="0">
                  <a:pos x="1023" y="3"/>
                </a:cxn>
                <a:cxn ang="0">
                  <a:pos x="1098" y="0"/>
                </a:cxn>
              </a:cxnLst>
              <a:rect l="0" t="0" r="r" b="b"/>
              <a:pathLst>
                <a:path w="1098" h="2203">
                  <a:moveTo>
                    <a:pt x="1098" y="0"/>
                  </a:moveTo>
                  <a:lnTo>
                    <a:pt x="1098" y="2203"/>
                  </a:lnTo>
                  <a:lnTo>
                    <a:pt x="1023" y="2200"/>
                  </a:lnTo>
                  <a:lnTo>
                    <a:pt x="949" y="2192"/>
                  </a:lnTo>
                  <a:lnTo>
                    <a:pt x="877" y="2180"/>
                  </a:lnTo>
                  <a:lnTo>
                    <a:pt x="806" y="2163"/>
                  </a:lnTo>
                  <a:lnTo>
                    <a:pt x="737" y="2141"/>
                  </a:lnTo>
                  <a:lnTo>
                    <a:pt x="670" y="2115"/>
                  </a:lnTo>
                  <a:lnTo>
                    <a:pt x="606" y="2085"/>
                  </a:lnTo>
                  <a:lnTo>
                    <a:pt x="544" y="2052"/>
                  </a:lnTo>
                  <a:lnTo>
                    <a:pt x="484" y="2013"/>
                  </a:lnTo>
                  <a:lnTo>
                    <a:pt x="427" y="1972"/>
                  </a:lnTo>
                  <a:lnTo>
                    <a:pt x="373" y="1928"/>
                  </a:lnTo>
                  <a:lnTo>
                    <a:pt x="321" y="1879"/>
                  </a:lnTo>
                  <a:lnTo>
                    <a:pt x="273" y="1828"/>
                  </a:lnTo>
                  <a:lnTo>
                    <a:pt x="229" y="1773"/>
                  </a:lnTo>
                  <a:lnTo>
                    <a:pt x="188" y="1716"/>
                  </a:lnTo>
                  <a:lnTo>
                    <a:pt x="149" y="1656"/>
                  </a:lnTo>
                  <a:lnTo>
                    <a:pt x="116" y="1594"/>
                  </a:lnTo>
                  <a:lnTo>
                    <a:pt x="86" y="1529"/>
                  </a:lnTo>
                  <a:lnTo>
                    <a:pt x="60" y="1462"/>
                  </a:lnTo>
                  <a:lnTo>
                    <a:pt x="39" y="1394"/>
                  </a:lnTo>
                  <a:lnTo>
                    <a:pt x="22" y="1323"/>
                  </a:lnTo>
                  <a:lnTo>
                    <a:pt x="10" y="1251"/>
                  </a:lnTo>
                  <a:lnTo>
                    <a:pt x="2" y="1177"/>
                  </a:lnTo>
                  <a:lnTo>
                    <a:pt x="0" y="1102"/>
                  </a:lnTo>
                  <a:lnTo>
                    <a:pt x="2" y="1026"/>
                  </a:lnTo>
                  <a:lnTo>
                    <a:pt x="10" y="952"/>
                  </a:lnTo>
                  <a:lnTo>
                    <a:pt x="22" y="880"/>
                  </a:lnTo>
                  <a:lnTo>
                    <a:pt x="39" y="809"/>
                  </a:lnTo>
                  <a:lnTo>
                    <a:pt x="60" y="741"/>
                  </a:lnTo>
                  <a:lnTo>
                    <a:pt x="86" y="674"/>
                  </a:lnTo>
                  <a:lnTo>
                    <a:pt x="116" y="609"/>
                  </a:lnTo>
                  <a:lnTo>
                    <a:pt x="149" y="547"/>
                  </a:lnTo>
                  <a:lnTo>
                    <a:pt x="188" y="487"/>
                  </a:lnTo>
                  <a:lnTo>
                    <a:pt x="229" y="430"/>
                  </a:lnTo>
                  <a:lnTo>
                    <a:pt x="273" y="375"/>
                  </a:lnTo>
                  <a:lnTo>
                    <a:pt x="321" y="324"/>
                  </a:lnTo>
                  <a:lnTo>
                    <a:pt x="373" y="275"/>
                  </a:lnTo>
                  <a:lnTo>
                    <a:pt x="427" y="231"/>
                  </a:lnTo>
                  <a:lnTo>
                    <a:pt x="484" y="190"/>
                  </a:lnTo>
                  <a:lnTo>
                    <a:pt x="544" y="151"/>
                  </a:lnTo>
                  <a:lnTo>
                    <a:pt x="606" y="118"/>
                  </a:lnTo>
                  <a:lnTo>
                    <a:pt x="670" y="88"/>
                  </a:lnTo>
                  <a:lnTo>
                    <a:pt x="737" y="62"/>
                  </a:lnTo>
                  <a:lnTo>
                    <a:pt x="806" y="40"/>
                  </a:lnTo>
                  <a:lnTo>
                    <a:pt x="877" y="23"/>
                  </a:lnTo>
                  <a:lnTo>
                    <a:pt x="949" y="11"/>
                  </a:lnTo>
                  <a:lnTo>
                    <a:pt x="1023" y="3"/>
                  </a:lnTo>
                  <a:lnTo>
                    <a:pt x="1098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0"/>
            <p:cNvSpPr>
              <a:spLocks/>
            </p:cNvSpPr>
            <p:nvPr/>
          </p:nvSpPr>
          <p:spPr bwMode="auto">
            <a:xfrm>
              <a:off x="6008688" y="1668463"/>
              <a:ext cx="1754188" cy="34972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0" y="3"/>
                </a:cxn>
                <a:cxn ang="0">
                  <a:pos x="154" y="11"/>
                </a:cxn>
                <a:cxn ang="0">
                  <a:pos x="226" y="23"/>
                </a:cxn>
                <a:cxn ang="0">
                  <a:pos x="297" y="39"/>
                </a:cxn>
                <a:cxn ang="0">
                  <a:pos x="366" y="61"/>
                </a:cxn>
                <a:cxn ang="0">
                  <a:pos x="433" y="87"/>
                </a:cxn>
                <a:cxn ang="0">
                  <a:pos x="498" y="116"/>
                </a:cxn>
                <a:cxn ang="0">
                  <a:pos x="560" y="151"/>
                </a:cxn>
                <a:cxn ang="0">
                  <a:pos x="620" y="189"/>
                </a:cxn>
                <a:cxn ang="0">
                  <a:pos x="677" y="230"/>
                </a:cxn>
                <a:cxn ang="0">
                  <a:pos x="732" y="275"/>
                </a:cxn>
                <a:cxn ang="0">
                  <a:pos x="783" y="323"/>
                </a:cxn>
                <a:cxn ang="0">
                  <a:pos x="831" y="374"/>
                </a:cxn>
                <a:cxn ang="0">
                  <a:pos x="876" y="429"/>
                </a:cxn>
                <a:cxn ang="0">
                  <a:pos x="917" y="486"/>
                </a:cxn>
                <a:cxn ang="0">
                  <a:pos x="955" y="546"/>
                </a:cxn>
                <a:cxn ang="0">
                  <a:pos x="989" y="608"/>
                </a:cxn>
                <a:cxn ang="0">
                  <a:pos x="1019" y="673"/>
                </a:cxn>
                <a:cxn ang="0">
                  <a:pos x="1045" y="740"/>
                </a:cxn>
                <a:cxn ang="0">
                  <a:pos x="1066" y="809"/>
                </a:cxn>
                <a:cxn ang="0">
                  <a:pos x="1083" y="880"/>
                </a:cxn>
                <a:cxn ang="0">
                  <a:pos x="1095" y="952"/>
                </a:cxn>
                <a:cxn ang="0">
                  <a:pos x="1103" y="1026"/>
                </a:cxn>
                <a:cxn ang="0">
                  <a:pos x="1105" y="1102"/>
                </a:cxn>
                <a:cxn ang="0">
                  <a:pos x="1103" y="1177"/>
                </a:cxn>
                <a:cxn ang="0">
                  <a:pos x="1095" y="1251"/>
                </a:cxn>
                <a:cxn ang="0">
                  <a:pos x="1083" y="1323"/>
                </a:cxn>
                <a:cxn ang="0">
                  <a:pos x="1066" y="1394"/>
                </a:cxn>
                <a:cxn ang="0">
                  <a:pos x="1045" y="1463"/>
                </a:cxn>
                <a:cxn ang="0">
                  <a:pos x="1019" y="1530"/>
                </a:cxn>
                <a:cxn ang="0">
                  <a:pos x="989" y="1595"/>
                </a:cxn>
                <a:cxn ang="0">
                  <a:pos x="955" y="1657"/>
                </a:cxn>
                <a:cxn ang="0">
                  <a:pos x="917" y="1717"/>
                </a:cxn>
                <a:cxn ang="0">
                  <a:pos x="876" y="1774"/>
                </a:cxn>
                <a:cxn ang="0">
                  <a:pos x="831" y="1829"/>
                </a:cxn>
                <a:cxn ang="0">
                  <a:pos x="783" y="1880"/>
                </a:cxn>
                <a:cxn ang="0">
                  <a:pos x="732" y="1928"/>
                </a:cxn>
                <a:cxn ang="0">
                  <a:pos x="677" y="1973"/>
                </a:cxn>
                <a:cxn ang="0">
                  <a:pos x="620" y="2014"/>
                </a:cxn>
                <a:cxn ang="0">
                  <a:pos x="560" y="2052"/>
                </a:cxn>
                <a:cxn ang="0">
                  <a:pos x="498" y="2087"/>
                </a:cxn>
                <a:cxn ang="0">
                  <a:pos x="433" y="2116"/>
                </a:cxn>
                <a:cxn ang="0">
                  <a:pos x="366" y="2142"/>
                </a:cxn>
                <a:cxn ang="0">
                  <a:pos x="297" y="2164"/>
                </a:cxn>
                <a:cxn ang="0">
                  <a:pos x="226" y="2180"/>
                </a:cxn>
                <a:cxn ang="0">
                  <a:pos x="154" y="2192"/>
                </a:cxn>
                <a:cxn ang="0">
                  <a:pos x="80" y="2200"/>
                </a:cxn>
                <a:cxn ang="0">
                  <a:pos x="4" y="2203"/>
                </a:cxn>
                <a:cxn ang="0">
                  <a:pos x="0" y="2203"/>
                </a:cxn>
                <a:cxn ang="0">
                  <a:pos x="0" y="0"/>
                </a:cxn>
              </a:cxnLst>
              <a:rect l="0" t="0" r="r" b="b"/>
              <a:pathLst>
                <a:path w="1105" h="2203">
                  <a:moveTo>
                    <a:pt x="0" y="0"/>
                  </a:moveTo>
                  <a:lnTo>
                    <a:pt x="4" y="0"/>
                  </a:lnTo>
                  <a:lnTo>
                    <a:pt x="80" y="3"/>
                  </a:lnTo>
                  <a:lnTo>
                    <a:pt x="154" y="11"/>
                  </a:lnTo>
                  <a:lnTo>
                    <a:pt x="226" y="23"/>
                  </a:lnTo>
                  <a:lnTo>
                    <a:pt x="297" y="39"/>
                  </a:lnTo>
                  <a:lnTo>
                    <a:pt x="366" y="61"/>
                  </a:lnTo>
                  <a:lnTo>
                    <a:pt x="433" y="87"/>
                  </a:lnTo>
                  <a:lnTo>
                    <a:pt x="498" y="116"/>
                  </a:lnTo>
                  <a:lnTo>
                    <a:pt x="560" y="151"/>
                  </a:lnTo>
                  <a:lnTo>
                    <a:pt x="620" y="189"/>
                  </a:lnTo>
                  <a:lnTo>
                    <a:pt x="677" y="230"/>
                  </a:lnTo>
                  <a:lnTo>
                    <a:pt x="732" y="275"/>
                  </a:lnTo>
                  <a:lnTo>
                    <a:pt x="783" y="323"/>
                  </a:lnTo>
                  <a:lnTo>
                    <a:pt x="831" y="374"/>
                  </a:lnTo>
                  <a:lnTo>
                    <a:pt x="876" y="429"/>
                  </a:lnTo>
                  <a:lnTo>
                    <a:pt x="917" y="486"/>
                  </a:lnTo>
                  <a:lnTo>
                    <a:pt x="955" y="546"/>
                  </a:lnTo>
                  <a:lnTo>
                    <a:pt x="989" y="608"/>
                  </a:lnTo>
                  <a:lnTo>
                    <a:pt x="1019" y="673"/>
                  </a:lnTo>
                  <a:lnTo>
                    <a:pt x="1045" y="740"/>
                  </a:lnTo>
                  <a:lnTo>
                    <a:pt x="1066" y="809"/>
                  </a:lnTo>
                  <a:lnTo>
                    <a:pt x="1083" y="880"/>
                  </a:lnTo>
                  <a:lnTo>
                    <a:pt x="1095" y="952"/>
                  </a:lnTo>
                  <a:lnTo>
                    <a:pt x="1103" y="1026"/>
                  </a:lnTo>
                  <a:lnTo>
                    <a:pt x="1105" y="1102"/>
                  </a:lnTo>
                  <a:lnTo>
                    <a:pt x="1103" y="1177"/>
                  </a:lnTo>
                  <a:lnTo>
                    <a:pt x="1095" y="1251"/>
                  </a:lnTo>
                  <a:lnTo>
                    <a:pt x="1083" y="1323"/>
                  </a:lnTo>
                  <a:lnTo>
                    <a:pt x="1066" y="1394"/>
                  </a:lnTo>
                  <a:lnTo>
                    <a:pt x="1045" y="1463"/>
                  </a:lnTo>
                  <a:lnTo>
                    <a:pt x="1019" y="1530"/>
                  </a:lnTo>
                  <a:lnTo>
                    <a:pt x="989" y="1595"/>
                  </a:lnTo>
                  <a:lnTo>
                    <a:pt x="955" y="1657"/>
                  </a:lnTo>
                  <a:lnTo>
                    <a:pt x="917" y="1717"/>
                  </a:lnTo>
                  <a:lnTo>
                    <a:pt x="876" y="1774"/>
                  </a:lnTo>
                  <a:lnTo>
                    <a:pt x="831" y="1829"/>
                  </a:lnTo>
                  <a:lnTo>
                    <a:pt x="783" y="1880"/>
                  </a:lnTo>
                  <a:lnTo>
                    <a:pt x="732" y="1928"/>
                  </a:lnTo>
                  <a:lnTo>
                    <a:pt x="677" y="1973"/>
                  </a:lnTo>
                  <a:lnTo>
                    <a:pt x="620" y="2014"/>
                  </a:lnTo>
                  <a:lnTo>
                    <a:pt x="560" y="2052"/>
                  </a:lnTo>
                  <a:lnTo>
                    <a:pt x="498" y="2087"/>
                  </a:lnTo>
                  <a:lnTo>
                    <a:pt x="433" y="2116"/>
                  </a:lnTo>
                  <a:lnTo>
                    <a:pt x="366" y="2142"/>
                  </a:lnTo>
                  <a:lnTo>
                    <a:pt x="297" y="2164"/>
                  </a:lnTo>
                  <a:lnTo>
                    <a:pt x="226" y="2180"/>
                  </a:lnTo>
                  <a:lnTo>
                    <a:pt x="154" y="2192"/>
                  </a:lnTo>
                  <a:lnTo>
                    <a:pt x="80" y="2200"/>
                  </a:lnTo>
                  <a:lnTo>
                    <a:pt x="4" y="2203"/>
                  </a:lnTo>
                  <a:lnTo>
                    <a:pt x="0" y="22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/>
            <p:cNvSpPr>
              <a:spLocks noEditPoints="1"/>
            </p:cNvSpPr>
            <p:nvPr/>
          </p:nvSpPr>
          <p:spPr bwMode="auto">
            <a:xfrm>
              <a:off x="5299076" y="2197100"/>
              <a:ext cx="1522413" cy="2397125"/>
            </a:xfrm>
            <a:custGeom>
              <a:avLst/>
              <a:gdLst/>
              <a:ahLst/>
              <a:cxnLst>
                <a:cxn ang="0">
                  <a:pos x="581" y="1159"/>
                </a:cxn>
                <a:cxn ang="0">
                  <a:pos x="653" y="1124"/>
                </a:cxn>
                <a:cxn ang="0">
                  <a:pos x="702" y="1066"/>
                </a:cxn>
                <a:cxn ang="0">
                  <a:pos x="718" y="996"/>
                </a:cxn>
                <a:cxn ang="0">
                  <a:pos x="705" y="934"/>
                </a:cxn>
                <a:cxn ang="0">
                  <a:pos x="663" y="883"/>
                </a:cxn>
                <a:cxn ang="0">
                  <a:pos x="586" y="846"/>
                </a:cxn>
                <a:cxn ang="0">
                  <a:pos x="383" y="277"/>
                </a:cxn>
                <a:cxn ang="0">
                  <a:pos x="318" y="325"/>
                </a:cxn>
                <a:cxn ang="0">
                  <a:pos x="286" y="390"/>
                </a:cxn>
                <a:cxn ang="0">
                  <a:pos x="292" y="457"/>
                </a:cxn>
                <a:cxn ang="0">
                  <a:pos x="333" y="516"/>
                </a:cxn>
                <a:cxn ang="0">
                  <a:pos x="410" y="559"/>
                </a:cxn>
                <a:cxn ang="0">
                  <a:pos x="553" y="0"/>
                </a:cxn>
                <a:cxn ang="0">
                  <a:pos x="637" y="98"/>
                </a:cxn>
                <a:cxn ang="0">
                  <a:pos x="743" y="136"/>
                </a:cxn>
                <a:cxn ang="0">
                  <a:pos x="826" y="197"/>
                </a:cxn>
                <a:cxn ang="0">
                  <a:pos x="884" y="277"/>
                </a:cxn>
                <a:cxn ang="0">
                  <a:pos x="919" y="377"/>
                </a:cxn>
                <a:cxn ang="0">
                  <a:pos x="651" y="353"/>
                </a:cxn>
                <a:cxn ang="0">
                  <a:pos x="601" y="295"/>
                </a:cxn>
                <a:cxn ang="0">
                  <a:pos x="553" y="600"/>
                </a:cxn>
                <a:cxn ang="0">
                  <a:pos x="708" y="645"/>
                </a:cxn>
                <a:cxn ang="0">
                  <a:pos x="822" y="700"/>
                </a:cxn>
                <a:cxn ang="0">
                  <a:pos x="896" y="768"/>
                </a:cxn>
                <a:cxn ang="0">
                  <a:pos x="943" y="858"/>
                </a:cxn>
                <a:cxn ang="0">
                  <a:pos x="959" y="966"/>
                </a:cxn>
                <a:cxn ang="0">
                  <a:pos x="944" y="1074"/>
                </a:cxn>
                <a:cxn ang="0">
                  <a:pos x="898" y="1168"/>
                </a:cxn>
                <a:cxn ang="0">
                  <a:pos x="823" y="1248"/>
                </a:cxn>
                <a:cxn ang="0">
                  <a:pos x="723" y="1308"/>
                </a:cxn>
                <a:cxn ang="0">
                  <a:pos x="599" y="1344"/>
                </a:cxn>
                <a:cxn ang="0">
                  <a:pos x="410" y="1510"/>
                </a:cxn>
                <a:cxn ang="0">
                  <a:pos x="319" y="1340"/>
                </a:cxn>
                <a:cxn ang="0">
                  <a:pos x="201" y="1293"/>
                </a:cxn>
                <a:cxn ang="0">
                  <a:pos x="107" y="1219"/>
                </a:cxn>
                <a:cxn ang="0">
                  <a:pos x="39" y="1118"/>
                </a:cxn>
                <a:cxn ang="0">
                  <a:pos x="0" y="990"/>
                </a:cxn>
                <a:cxn ang="0">
                  <a:pos x="278" y="1029"/>
                </a:cxn>
                <a:cxn ang="0">
                  <a:pos x="337" y="1106"/>
                </a:cxn>
                <a:cxn ang="0">
                  <a:pos x="410" y="1153"/>
                </a:cxn>
                <a:cxn ang="0">
                  <a:pos x="309" y="769"/>
                </a:cxn>
                <a:cxn ang="0">
                  <a:pos x="189" y="707"/>
                </a:cxn>
                <a:cxn ang="0">
                  <a:pos x="105" y="629"/>
                </a:cxn>
                <a:cxn ang="0">
                  <a:pos x="56" y="534"/>
                </a:cxn>
                <a:cxn ang="0">
                  <a:pos x="39" y="424"/>
                </a:cxn>
                <a:cxn ang="0">
                  <a:pos x="57" y="314"/>
                </a:cxn>
                <a:cxn ang="0">
                  <a:pos x="114" y="220"/>
                </a:cxn>
                <a:cxn ang="0">
                  <a:pos x="205" y="144"/>
                </a:cxn>
                <a:cxn ang="0">
                  <a:pos x="320" y="98"/>
                </a:cxn>
                <a:cxn ang="0">
                  <a:pos x="410" y="0"/>
                </a:cxn>
              </a:cxnLst>
              <a:rect l="0" t="0" r="r" b="b"/>
              <a:pathLst>
                <a:path w="959" h="1510">
                  <a:moveTo>
                    <a:pt x="553" y="836"/>
                  </a:moveTo>
                  <a:lnTo>
                    <a:pt x="553" y="1165"/>
                  </a:lnTo>
                  <a:lnTo>
                    <a:pt x="581" y="1159"/>
                  </a:lnTo>
                  <a:lnTo>
                    <a:pt x="608" y="1150"/>
                  </a:lnTo>
                  <a:lnTo>
                    <a:pt x="632" y="1138"/>
                  </a:lnTo>
                  <a:lnTo>
                    <a:pt x="653" y="1124"/>
                  </a:lnTo>
                  <a:lnTo>
                    <a:pt x="672" y="1106"/>
                  </a:lnTo>
                  <a:lnTo>
                    <a:pt x="689" y="1087"/>
                  </a:lnTo>
                  <a:lnTo>
                    <a:pt x="702" y="1066"/>
                  </a:lnTo>
                  <a:lnTo>
                    <a:pt x="711" y="1044"/>
                  </a:lnTo>
                  <a:lnTo>
                    <a:pt x="717" y="1021"/>
                  </a:lnTo>
                  <a:lnTo>
                    <a:pt x="718" y="996"/>
                  </a:lnTo>
                  <a:lnTo>
                    <a:pt x="717" y="974"/>
                  </a:lnTo>
                  <a:lnTo>
                    <a:pt x="712" y="954"/>
                  </a:lnTo>
                  <a:lnTo>
                    <a:pt x="705" y="934"/>
                  </a:lnTo>
                  <a:lnTo>
                    <a:pt x="694" y="916"/>
                  </a:lnTo>
                  <a:lnTo>
                    <a:pt x="680" y="899"/>
                  </a:lnTo>
                  <a:lnTo>
                    <a:pt x="663" y="883"/>
                  </a:lnTo>
                  <a:lnTo>
                    <a:pt x="641" y="869"/>
                  </a:lnTo>
                  <a:lnTo>
                    <a:pt x="616" y="857"/>
                  </a:lnTo>
                  <a:lnTo>
                    <a:pt x="586" y="846"/>
                  </a:lnTo>
                  <a:lnTo>
                    <a:pt x="553" y="836"/>
                  </a:lnTo>
                  <a:close/>
                  <a:moveTo>
                    <a:pt x="410" y="268"/>
                  </a:moveTo>
                  <a:lnTo>
                    <a:pt x="383" y="277"/>
                  </a:lnTo>
                  <a:lnTo>
                    <a:pt x="359" y="290"/>
                  </a:lnTo>
                  <a:lnTo>
                    <a:pt x="337" y="306"/>
                  </a:lnTo>
                  <a:lnTo>
                    <a:pt x="318" y="325"/>
                  </a:lnTo>
                  <a:lnTo>
                    <a:pt x="303" y="346"/>
                  </a:lnTo>
                  <a:lnTo>
                    <a:pt x="293" y="367"/>
                  </a:lnTo>
                  <a:lnTo>
                    <a:pt x="286" y="390"/>
                  </a:lnTo>
                  <a:lnTo>
                    <a:pt x="284" y="414"/>
                  </a:lnTo>
                  <a:lnTo>
                    <a:pt x="286" y="436"/>
                  </a:lnTo>
                  <a:lnTo>
                    <a:pt x="292" y="457"/>
                  </a:lnTo>
                  <a:lnTo>
                    <a:pt x="302" y="478"/>
                  </a:lnTo>
                  <a:lnTo>
                    <a:pt x="316" y="497"/>
                  </a:lnTo>
                  <a:lnTo>
                    <a:pt x="333" y="516"/>
                  </a:lnTo>
                  <a:lnTo>
                    <a:pt x="355" y="532"/>
                  </a:lnTo>
                  <a:lnTo>
                    <a:pt x="381" y="547"/>
                  </a:lnTo>
                  <a:lnTo>
                    <a:pt x="410" y="559"/>
                  </a:lnTo>
                  <a:lnTo>
                    <a:pt x="410" y="268"/>
                  </a:lnTo>
                  <a:close/>
                  <a:moveTo>
                    <a:pt x="410" y="0"/>
                  </a:moveTo>
                  <a:lnTo>
                    <a:pt x="553" y="0"/>
                  </a:lnTo>
                  <a:lnTo>
                    <a:pt x="553" y="83"/>
                  </a:lnTo>
                  <a:lnTo>
                    <a:pt x="596" y="89"/>
                  </a:lnTo>
                  <a:lnTo>
                    <a:pt x="637" y="98"/>
                  </a:lnTo>
                  <a:lnTo>
                    <a:pt x="675" y="108"/>
                  </a:lnTo>
                  <a:lnTo>
                    <a:pt x="710" y="121"/>
                  </a:lnTo>
                  <a:lnTo>
                    <a:pt x="743" y="136"/>
                  </a:lnTo>
                  <a:lnTo>
                    <a:pt x="773" y="155"/>
                  </a:lnTo>
                  <a:lnTo>
                    <a:pt x="801" y="175"/>
                  </a:lnTo>
                  <a:lnTo>
                    <a:pt x="826" y="197"/>
                  </a:lnTo>
                  <a:lnTo>
                    <a:pt x="848" y="222"/>
                  </a:lnTo>
                  <a:lnTo>
                    <a:pt x="868" y="249"/>
                  </a:lnTo>
                  <a:lnTo>
                    <a:pt x="884" y="277"/>
                  </a:lnTo>
                  <a:lnTo>
                    <a:pt x="899" y="308"/>
                  </a:lnTo>
                  <a:lnTo>
                    <a:pt x="910" y="342"/>
                  </a:lnTo>
                  <a:lnTo>
                    <a:pt x="919" y="377"/>
                  </a:lnTo>
                  <a:lnTo>
                    <a:pt x="671" y="404"/>
                  </a:lnTo>
                  <a:lnTo>
                    <a:pt x="663" y="377"/>
                  </a:lnTo>
                  <a:lnTo>
                    <a:pt x="651" y="353"/>
                  </a:lnTo>
                  <a:lnTo>
                    <a:pt x="638" y="331"/>
                  </a:lnTo>
                  <a:lnTo>
                    <a:pt x="621" y="312"/>
                  </a:lnTo>
                  <a:lnTo>
                    <a:pt x="601" y="295"/>
                  </a:lnTo>
                  <a:lnTo>
                    <a:pt x="578" y="281"/>
                  </a:lnTo>
                  <a:lnTo>
                    <a:pt x="553" y="270"/>
                  </a:lnTo>
                  <a:lnTo>
                    <a:pt x="553" y="600"/>
                  </a:lnTo>
                  <a:lnTo>
                    <a:pt x="609" y="614"/>
                  </a:lnTo>
                  <a:lnTo>
                    <a:pt x="661" y="629"/>
                  </a:lnTo>
                  <a:lnTo>
                    <a:pt x="708" y="645"/>
                  </a:lnTo>
                  <a:lnTo>
                    <a:pt x="751" y="662"/>
                  </a:lnTo>
                  <a:lnTo>
                    <a:pt x="788" y="680"/>
                  </a:lnTo>
                  <a:lnTo>
                    <a:pt x="822" y="700"/>
                  </a:lnTo>
                  <a:lnTo>
                    <a:pt x="849" y="720"/>
                  </a:lnTo>
                  <a:lnTo>
                    <a:pt x="873" y="742"/>
                  </a:lnTo>
                  <a:lnTo>
                    <a:pt x="896" y="768"/>
                  </a:lnTo>
                  <a:lnTo>
                    <a:pt x="915" y="796"/>
                  </a:lnTo>
                  <a:lnTo>
                    <a:pt x="931" y="826"/>
                  </a:lnTo>
                  <a:lnTo>
                    <a:pt x="943" y="858"/>
                  </a:lnTo>
                  <a:lnTo>
                    <a:pt x="952" y="892"/>
                  </a:lnTo>
                  <a:lnTo>
                    <a:pt x="958" y="928"/>
                  </a:lnTo>
                  <a:lnTo>
                    <a:pt x="959" y="966"/>
                  </a:lnTo>
                  <a:lnTo>
                    <a:pt x="958" y="1003"/>
                  </a:lnTo>
                  <a:lnTo>
                    <a:pt x="952" y="1039"/>
                  </a:lnTo>
                  <a:lnTo>
                    <a:pt x="944" y="1074"/>
                  </a:lnTo>
                  <a:lnTo>
                    <a:pt x="932" y="1106"/>
                  </a:lnTo>
                  <a:lnTo>
                    <a:pt x="917" y="1138"/>
                  </a:lnTo>
                  <a:lnTo>
                    <a:pt x="898" y="1168"/>
                  </a:lnTo>
                  <a:lnTo>
                    <a:pt x="876" y="1196"/>
                  </a:lnTo>
                  <a:lnTo>
                    <a:pt x="851" y="1223"/>
                  </a:lnTo>
                  <a:lnTo>
                    <a:pt x="823" y="1248"/>
                  </a:lnTo>
                  <a:lnTo>
                    <a:pt x="792" y="1271"/>
                  </a:lnTo>
                  <a:lnTo>
                    <a:pt x="759" y="1291"/>
                  </a:lnTo>
                  <a:lnTo>
                    <a:pt x="723" y="1308"/>
                  </a:lnTo>
                  <a:lnTo>
                    <a:pt x="684" y="1323"/>
                  </a:lnTo>
                  <a:lnTo>
                    <a:pt x="643" y="1335"/>
                  </a:lnTo>
                  <a:lnTo>
                    <a:pt x="599" y="1344"/>
                  </a:lnTo>
                  <a:lnTo>
                    <a:pt x="553" y="1351"/>
                  </a:lnTo>
                  <a:lnTo>
                    <a:pt x="553" y="1510"/>
                  </a:lnTo>
                  <a:lnTo>
                    <a:pt x="410" y="1510"/>
                  </a:lnTo>
                  <a:lnTo>
                    <a:pt x="410" y="1356"/>
                  </a:lnTo>
                  <a:lnTo>
                    <a:pt x="364" y="1350"/>
                  </a:lnTo>
                  <a:lnTo>
                    <a:pt x="319" y="1340"/>
                  </a:lnTo>
                  <a:lnTo>
                    <a:pt x="277" y="1327"/>
                  </a:lnTo>
                  <a:lnTo>
                    <a:pt x="237" y="1312"/>
                  </a:lnTo>
                  <a:lnTo>
                    <a:pt x="201" y="1293"/>
                  </a:lnTo>
                  <a:lnTo>
                    <a:pt x="166" y="1272"/>
                  </a:lnTo>
                  <a:lnTo>
                    <a:pt x="135" y="1247"/>
                  </a:lnTo>
                  <a:lnTo>
                    <a:pt x="107" y="1219"/>
                  </a:lnTo>
                  <a:lnTo>
                    <a:pt x="81" y="1188"/>
                  </a:lnTo>
                  <a:lnTo>
                    <a:pt x="58" y="1155"/>
                  </a:lnTo>
                  <a:lnTo>
                    <a:pt x="39" y="1118"/>
                  </a:lnTo>
                  <a:lnTo>
                    <a:pt x="23" y="1079"/>
                  </a:lnTo>
                  <a:lnTo>
                    <a:pt x="10" y="1036"/>
                  </a:lnTo>
                  <a:lnTo>
                    <a:pt x="0" y="990"/>
                  </a:lnTo>
                  <a:lnTo>
                    <a:pt x="256" y="966"/>
                  </a:lnTo>
                  <a:lnTo>
                    <a:pt x="265" y="998"/>
                  </a:lnTo>
                  <a:lnTo>
                    <a:pt x="278" y="1029"/>
                  </a:lnTo>
                  <a:lnTo>
                    <a:pt x="294" y="1057"/>
                  </a:lnTo>
                  <a:lnTo>
                    <a:pt x="314" y="1083"/>
                  </a:lnTo>
                  <a:lnTo>
                    <a:pt x="337" y="1106"/>
                  </a:lnTo>
                  <a:lnTo>
                    <a:pt x="360" y="1125"/>
                  </a:lnTo>
                  <a:lnTo>
                    <a:pt x="385" y="1141"/>
                  </a:lnTo>
                  <a:lnTo>
                    <a:pt x="410" y="1153"/>
                  </a:lnTo>
                  <a:lnTo>
                    <a:pt x="410" y="800"/>
                  </a:lnTo>
                  <a:lnTo>
                    <a:pt x="358" y="785"/>
                  </a:lnTo>
                  <a:lnTo>
                    <a:pt x="309" y="769"/>
                  </a:lnTo>
                  <a:lnTo>
                    <a:pt x="265" y="750"/>
                  </a:lnTo>
                  <a:lnTo>
                    <a:pt x="224" y="730"/>
                  </a:lnTo>
                  <a:lnTo>
                    <a:pt x="189" y="707"/>
                  </a:lnTo>
                  <a:lnTo>
                    <a:pt x="157" y="683"/>
                  </a:lnTo>
                  <a:lnTo>
                    <a:pt x="129" y="656"/>
                  </a:lnTo>
                  <a:lnTo>
                    <a:pt x="105" y="629"/>
                  </a:lnTo>
                  <a:lnTo>
                    <a:pt x="85" y="598"/>
                  </a:lnTo>
                  <a:lnTo>
                    <a:pt x="69" y="567"/>
                  </a:lnTo>
                  <a:lnTo>
                    <a:pt x="56" y="534"/>
                  </a:lnTo>
                  <a:lnTo>
                    <a:pt x="46" y="499"/>
                  </a:lnTo>
                  <a:lnTo>
                    <a:pt x="41" y="462"/>
                  </a:lnTo>
                  <a:lnTo>
                    <a:pt x="39" y="424"/>
                  </a:lnTo>
                  <a:lnTo>
                    <a:pt x="41" y="385"/>
                  </a:lnTo>
                  <a:lnTo>
                    <a:pt x="47" y="349"/>
                  </a:lnTo>
                  <a:lnTo>
                    <a:pt x="57" y="314"/>
                  </a:lnTo>
                  <a:lnTo>
                    <a:pt x="73" y="280"/>
                  </a:lnTo>
                  <a:lnTo>
                    <a:pt x="91" y="249"/>
                  </a:lnTo>
                  <a:lnTo>
                    <a:pt x="114" y="220"/>
                  </a:lnTo>
                  <a:lnTo>
                    <a:pt x="141" y="192"/>
                  </a:lnTo>
                  <a:lnTo>
                    <a:pt x="171" y="167"/>
                  </a:lnTo>
                  <a:lnTo>
                    <a:pt x="205" y="144"/>
                  </a:lnTo>
                  <a:lnTo>
                    <a:pt x="240" y="126"/>
                  </a:lnTo>
                  <a:lnTo>
                    <a:pt x="278" y="110"/>
                  </a:lnTo>
                  <a:lnTo>
                    <a:pt x="320" y="98"/>
                  </a:lnTo>
                  <a:lnTo>
                    <a:pt x="364" y="89"/>
                  </a:lnTo>
                  <a:lnTo>
                    <a:pt x="410" y="83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3487799" y="4084252"/>
            <a:ext cx="1371600" cy="1334345"/>
            <a:chOff x="4011613" y="1414463"/>
            <a:chExt cx="4149725" cy="4037013"/>
          </a:xfrm>
        </p:grpSpPr>
        <p:sp>
          <p:nvSpPr>
            <p:cNvPr id="77" name="Freeform 6"/>
            <p:cNvSpPr>
              <a:spLocks/>
            </p:cNvSpPr>
            <p:nvPr/>
          </p:nvSpPr>
          <p:spPr bwMode="auto">
            <a:xfrm>
              <a:off x="4154488" y="1446213"/>
              <a:ext cx="4006850" cy="4005263"/>
            </a:xfrm>
            <a:custGeom>
              <a:avLst/>
              <a:gdLst/>
              <a:ahLst/>
              <a:cxnLst>
                <a:cxn ang="0">
                  <a:pos x="1341" y="3"/>
                </a:cxn>
                <a:cxn ang="0">
                  <a:pos x="1497" y="23"/>
                </a:cxn>
                <a:cxn ang="0">
                  <a:pos x="1646" y="60"/>
                </a:cxn>
                <a:cxn ang="0">
                  <a:pos x="1788" y="115"/>
                </a:cxn>
                <a:cxn ang="0">
                  <a:pos x="1920" y="186"/>
                </a:cxn>
                <a:cxn ang="0">
                  <a:pos x="2043" y="271"/>
                </a:cxn>
                <a:cxn ang="0">
                  <a:pos x="2154" y="369"/>
                </a:cxn>
                <a:cxn ang="0">
                  <a:pos x="2254" y="481"/>
                </a:cxn>
                <a:cxn ang="0">
                  <a:pos x="2339" y="604"/>
                </a:cxn>
                <a:cxn ang="0">
                  <a:pos x="2409" y="736"/>
                </a:cxn>
                <a:cxn ang="0">
                  <a:pos x="2464" y="877"/>
                </a:cxn>
                <a:cxn ang="0">
                  <a:pos x="2502" y="1026"/>
                </a:cxn>
                <a:cxn ang="0">
                  <a:pos x="2521" y="1182"/>
                </a:cxn>
                <a:cxn ang="0">
                  <a:pos x="2521" y="1341"/>
                </a:cxn>
                <a:cxn ang="0">
                  <a:pos x="2502" y="1497"/>
                </a:cxn>
                <a:cxn ang="0">
                  <a:pos x="2464" y="1645"/>
                </a:cxn>
                <a:cxn ang="0">
                  <a:pos x="2409" y="1787"/>
                </a:cxn>
                <a:cxn ang="0">
                  <a:pos x="2339" y="1920"/>
                </a:cxn>
                <a:cxn ang="0">
                  <a:pos x="2254" y="2042"/>
                </a:cxn>
                <a:cxn ang="0">
                  <a:pos x="2154" y="2153"/>
                </a:cxn>
                <a:cxn ang="0">
                  <a:pos x="2043" y="2253"/>
                </a:cxn>
                <a:cxn ang="0">
                  <a:pos x="1920" y="2338"/>
                </a:cxn>
                <a:cxn ang="0">
                  <a:pos x="1788" y="2409"/>
                </a:cxn>
                <a:cxn ang="0">
                  <a:pos x="1646" y="2464"/>
                </a:cxn>
                <a:cxn ang="0">
                  <a:pos x="1497" y="2501"/>
                </a:cxn>
                <a:cxn ang="0">
                  <a:pos x="1341" y="2521"/>
                </a:cxn>
                <a:cxn ang="0">
                  <a:pos x="1182" y="2521"/>
                </a:cxn>
                <a:cxn ang="0">
                  <a:pos x="1027" y="2501"/>
                </a:cxn>
                <a:cxn ang="0">
                  <a:pos x="878" y="2464"/>
                </a:cxn>
                <a:cxn ang="0">
                  <a:pos x="736" y="2409"/>
                </a:cxn>
                <a:cxn ang="0">
                  <a:pos x="603" y="2338"/>
                </a:cxn>
                <a:cxn ang="0">
                  <a:pos x="481" y="2253"/>
                </a:cxn>
                <a:cxn ang="0">
                  <a:pos x="370" y="2153"/>
                </a:cxn>
                <a:cxn ang="0">
                  <a:pos x="270" y="2042"/>
                </a:cxn>
                <a:cxn ang="0">
                  <a:pos x="185" y="1920"/>
                </a:cxn>
                <a:cxn ang="0">
                  <a:pos x="114" y="1787"/>
                </a:cxn>
                <a:cxn ang="0">
                  <a:pos x="60" y="1645"/>
                </a:cxn>
                <a:cxn ang="0">
                  <a:pos x="22" y="1497"/>
                </a:cxn>
                <a:cxn ang="0">
                  <a:pos x="2" y="1341"/>
                </a:cxn>
                <a:cxn ang="0">
                  <a:pos x="2" y="1182"/>
                </a:cxn>
                <a:cxn ang="0">
                  <a:pos x="22" y="1026"/>
                </a:cxn>
                <a:cxn ang="0">
                  <a:pos x="60" y="877"/>
                </a:cxn>
                <a:cxn ang="0">
                  <a:pos x="114" y="736"/>
                </a:cxn>
                <a:cxn ang="0">
                  <a:pos x="185" y="604"/>
                </a:cxn>
                <a:cxn ang="0">
                  <a:pos x="270" y="481"/>
                </a:cxn>
                <a:cxn ang="0">
                  <a:pos x="370" y="369"/>
                </a:cxn>
                <a:cxn ang="0">
                  <a:pos x="481" y="271"/>
                </a:cxn>
                <a:cxn ang="0">
                  <a:pos x="603" y="186"/>
                </a:cxn>
                <a:cxn ang="0">
                  <a:pos x="736" y="115"/>
                </a:cxn>
                <a:cxn ang="0">
                  <a:pos x="878" y="60"/>
                </a:cxn>
                <a:cxn ang="0">
                  <a:pos x="1027" y="23"/>
                </a:cxn>
                <a:cxn ang="0">
                  <a:pos x="1182" y="3"/>
                </a:cxn>
              </a:cxnLst>
              <a:rect l="0" t="0" r="r" b="b"/>
              <a:pathLst>
                <a:path w="2524" h="2523">
                  <a:moveTo>
                    <a:pt x="1262" y="0"/>
                  </a:moveTo>
                  <a:lnTo>
                    <a:pt x="1341" y="3"/>
                  </a:lnTo>
                  <a:lnTo>
                    <a:pt x="1420" y="10"/>
                  </a:lnTo>
                  <a:lnTo>
                    <a:pt x="1497" y="23"/>
                  </a:lnTo>
                  <a:lnTo>
                    <a:pt x="1573" y="39"/>
                  </a:lnTo>
                  <a:lnTo>
                    <a:pt x="1646" y="60"/>
                  </a:lnTo>
                  <a:lnTo>
                    <a:pt x="1718" y="86"/>
                  </a:lnTo>
                  <a:lnTo>
                    <a:pt x="1788" y="115"/>
                  </a:lnTo>
                  <a:lnTo>
                    <a:pt x="1855" y="148"/>
                  </a:lnTo>
                  <a:lnTo>
                    <a:pt x="1920" y="186"/>
                  </a:lnTo>
                  <a:lnTo>
                    <a:pt x="1982" y="226"/>
                  </a:lnTo>
                  <a:lnTo>
                    <a:pt x="2043" y="271"/>
                  </a:lnTo>
                  <a:lnTo>
                    <a:pt x="2100" y="318"/>
                  </a:lnTo>
                  <a:lnTo>
                    <a:pt x="2154" y="369"/>
                  </a:lnTo>
                  <a:lnTo>
                    <a:pt x="2205" y="424"/>
                  </a:lnTo>
                  <a:lnTo>
                    <a:pt x="2254" y="481"/>
                  </a:lnTo>
                  <a:lnTo>
                    <a:pt x="2298" y="541"/>
                  </a:lnTo>
                  <a:lnTo>
                    <a:pt x="2339" y="604"/>
                  </a:lnTo>
                  <a:lnTo>
                    <a:pt x="2376" y="668"/>
                  </a:lnTo>
                  <a:lnTo>
                    <a:pt x="2409" y="736"/>
                  </a:lnTo>
                  <a:lnTo>
                    <a:pt x="2439" y="806"/>
                  </a:lnTo>
                  <a:lnTo>
                    <a:pt x="2464" y="877"/>
                  </a:lnTo>
                  <a:lnTo>
                    <a:pt x="2486" y="951"/>
                  </a:lnTo>
                  <a:lnTo>
                    <a:pt x="2502" y="1026"/>
                  </a:lnTo>
                  <a:lnTo>
                    <a:pt x="2514" y="1103"/>
                  </a:lnTo>
                  <a:lnTo>
                    <a:pt x="2521" y="1182"/>
                  </a:lnTo>
                  <a:lnTo>
                    <a:pt x="2524" y="1261"/>
                  </a:lnTo>
                  <a:lnTo>
                    <a:pt x="2521" y="1341"/>
                  </a:lnTo>
                  <a:lnTo>
                    <a:pt x="2514" y="1420"/>
                  </a:lnTo>
                  <a:lnTo>
                    <a:pt x="2502" y="1497"/>
                  </a:lnTo>
                  <a:lnTo>
                    <a:pt x="2486" y="1572"/>
                  </a:lnTo>
                  <a:lnTo>
                    <a:pt x="2464" y="1645"/>
                  </a:lnTo>
                  <a:lnTo>
                    <a:pt x="2439" y="1717"/>
                  </a:lnTo>
                  <a:lnTo>
                    <a:pt x="2409" y="1787"/>
                  </a:lnTo>
                  <a:lnTo>
                    <a:pt x="2376" y="1855"/>
                  </a:lnTo>
                  <a:lnTo>
                    <a:pt x="2339" y="1920"/>
                  </a:lnTo>
                  <a:lnTo>
                    <a:pt x="2298" y="1982"/>
                  </a:lnTo>
                  <a:lnTo>
                    <a:pt x="2254" y="2042"/>
                  </a:lnTo>
                  <a:lnTo>
                    <a:pt x="2205" y="2099"/>
                  </a:lnTo>
                  <a:lnTo>
                    <a:pt x="2154" y="2153"/>
                  </a:lnTo>
                  <a:lnTo>
                    <a:pt x="2100" y="2204"/>
                  </a:lnTo>
                  <a:lnTo>
                    <a:pt x="2043" y="2253"/>
                  </a:lnTo>
                  <a:lnTo>
                    <a:pt x="1982" y="2297"/>
                  </a:lnTo>
                  <a:lnTo>
                    <a:pt x="1920" y="2338"/>
                  </a:lnTo>
                  <a:lnTo>
                    <a:pt x="1855" y="2375"/>
                  </a:lnTo>
                  <a:lnTo>
                    <a:pt x="1788" y="2409"/>
                  </a:lnTo>
                  <a:lnTo>
                    <a:pt x="1718" y="2438"/>
                  </a:lnTo>
                  <a:lnTo>
                    <a:pt x="1646" y="2464"/>
                  </a:lnTo>
                  <a:lnTo>
                    <a:pt x="1573" y="2485"/>
                  </a:lnTo>
                  <a:lnTo>
                    <a:pt x="1497" y="2501"/>
                  </a:lnTo>
                  <a:lnTo>
                    <a:pt x="1420" y="2514"/>
                  </a:lnTo>
                  <a:lnTo>
                    <a:pt x="1341" y="2521"/>
                  </a:lnTo>
                  <a:lnTo>
                    <a:pt x="1262" y="2523"/>
                  </a:lnTo>
                  <a:lnTo>
                    <a:pt x="1182" y="2521"/>
                  </a:lnTo>
                  <a:lnTo>
                    <a:pt x="1104" y="2514"/>
                  </a:lnTo>
                  <a:lnTo>
                    <a:pt x="1027" y="2501"/>
                  </a:lnTo>
                  <a:lnTo>
                    <a:pt x="951" y="2485"/>
                  </a:lnTo>
                  <a:lnTo>
                    <a:pt x="878" y="2464"/>
                  </a:lnTo>
                  <a:lnTo>
                    <a:pt x="806" y="2438"/>
                  </a:lnTo>
                  <a:lnTo>
                    <a:pt x="736" y="2409"/>
                  </a:lnTo>
                  <a:lnTo>
                    <a:pt x="669" y="2375"/>
                  </a:lnTo>
                  <a:lnTo>
                    <a:pt x="603" y="2338"/>
                  </a:lnTo>
                  <a:lnTo>
                    <a:pt x="541" y="2297"/>
                  </a:lnTo>
                  <a:lnTo>
                    <a:pt x="481" y="2253"/>
                  </a:lnTo>
                  <a:lnTo>
                    <a:pt x="424" y="2204"/>
                  </a:lnTo>
                  <a:lnTo>
                    <a:pt x="370" y="2153"/>
                  </a:lnTo>
                  <a:lnTo>
                    <a:pt x="319" y="2099"/>
                  </a:lnTo>
                  <a:lnTo>
                    <a:pt x="270" y="2042"/>
                  </a:lnTo>
                  <a:lnTo>
                    <a:pt x="226" y="1982"/>
                  </a:lnTo>
                  <a:lnTo>
                    <a:pt x="185" y="1920"/>
                  </a:lnTo>
                  <a:lnTo>
                    <a:pt x="148" y="1855"/>
                  </a:lnTo>
                  <a:lnTo>
                    <a:pt x="114" y="1787"/>
                  </a:lnTo>
                  <a:lnTo>
                    <a:pt x="85" y="1717"/>
                  </a:lnTo>
                  <a:lnTo>
                    <a:pt x="60" y="1645"/>
                  </a:lnTo>
                  <a:lnTo>
                    <a:pt x="38" y="1572"/>
                  </a:lnTo>
                  <a:lnTo>
                    <a:pt x="22" y="1497"/>
                  </a:lnTo>
                  <a:lnTo>
                    <a:pt x="9" y="1420"/>
                  </a:lnTo>
                  <a:lnTo>
                    <a:pt x="2" y="1341"/>
                  </a:lnTo>
                  <a:lnTo>
                    <a:pt x="0" y="1261"/>
                  </a:lnTo>
                  <a:lnTo>
                    <a:pt x="2" y="1182"/>
                  </a:lnTo>
                  <a:lnTo>
                    <a:pt x="9" y="1103"/>
                  </a:lnTo>
                  <a:lnTo>
                    <a:pt x="22" y="1026"/>
                  </a:lnTo>
                  <a:lnTo>
                    <a:pt x="38" y="951"/>
                  </a:lnTo>
                  <a:lnTo>
                    <a:pt x="60" y="877"/>
                  </a:lnTo>
                  <a:lnTo>
                    <a:pt x="85" y="806"/>
                  </a:lnTo>
                  <a:lnTo>
                    <a:pt x="114" y="736"/>
                  </a:lnTo>
                  <a:lnTo>
                    <a:pt x="148" y="668"/>
                  </a:lnTo>
                  <a:lnTo>
                    <a:pt x="185" y="604"/>
                  </a:lnTo>
                  <a:lnTo>
                    <a:pt x="226" y="541"/>
                  </a:lnTo>
                  <a:lnTo>
                    <a:pt x="270" y="481"/>
                  </a:lnTo>
                  <a:lnTo>
                    <a:pt x="319" y="424"/>
                  </a:lnTo>
                  <a:lnTo>
                    <a:pt x="370" y="369"/>
                  </a:lnTo>
                  <a:lnTo>
                    <a:pt x="424" y="318"/>
                  </a:lnTo>
                  <a:lnTo>
                    <a:pt x="481" y="271"/>
                  </a:lnTo>
                  <a:lnTo>
                    <a:pt x="541" y="226"/>
                  </a:lnTo>
                  <a:lnTo>
                    <a:pt x="603" y="186"/>
                  </a:lnTo>
                  <a:lnTo>
                    <a:pt x="669" y="148"/>
                  </a:lnTo>
                  <a:lnTo>
                    <a:pt x="736" y="115"/>
                  </a:lnTo>
                  <a:lnTo>
                    <a:pt x="806" y="86"/>
                  </a:lnTo>
                  <a:lnTo>
                    <a:pt x="878" y="60"/>
                  </a:lnTo>
                  <a:lnTo>
                    <a:pt x="951" y="39"/>
                  </a:lnTo>
                  <a:lnTo>
                    <a:pt x="1027" y="23"/>
                  </a:lnTo>
                  <a:lnTo>
                    <a:pt x="1104" y="10"/>
                  </a:lnTo>
                  <a:lnTo>
                    <a:pt x="1182" y="3"/>
                  </a:lnTo>
                  <a:lnTo>
                    <a:pt x="1262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"/>
            <p:cNvSpPr>
              <a:spLocks/>
            </p:cNvSpPr>
            <p:nvPr/>
          </p:nvSpPr>
          <p:spPr bwMode="auto">
            <a:xfrm>
              <a:off x="4011613" y="1416050"/>
              <a:ext cx="1997075" cy="4002088"/>
            </a:xfrm>
            <a:custGeom>
              <a:avLst/>
              <a:gdLst/>
              <a:ahLst/>
              <a:cxnLst>
                <a:cxn ang="0">
                  <a:pos x="1258" y="0"/>
                </a:cxn>
                <a:cxn ang="0">
                  <a:pos x="1258" y="2521"/>
                </a:cxn>
                <a:cxn ang="0">
                  <a:pos x="1179" y="2519"/>
                </a:cxn>
                <a:cxn ang="0">
                  <a:pos x="1101" y="2511"/>
                </a:cxn>
                <a:cxn ang="0">
                  <a:pos x="1023" y="2499"/>
                </a:cxn>
                <a:cxn ang="0">
                  <a:pos x="948" y="2483"/>
                </a:cxn>
                <a:cxn ang="0">
                  <a:pos x="875" y="2461"/>
                </a:cxn>
                <a:cxn ang="0">
                  <a:pos x="803" y="2436"/>
                </a:cxn>
                <a:cxn ang="0">
                  <a:pos x="734" y="2406"/>
                </a:cxn>
                <a:cxn ang="0">
                  <a:pos x="666" y="2373"/>
                </a:cxn>
                <a:cxn ang="0">
                  <a:pos x="602" y="2335"/>
                </a:cxn>
                <a:cxn ang="0">
                  <a:pos x="539" y="2295"/>
                </a:cxn>
                <a:cxn ang="0">
                  <a:pos x="480" y="2250"/>
                </a:cxn>
                <a:cxn ang="0">
                  <a:pos x="422" y="2203"/>
                </a:cxn>
                <a:cxn ang="0">
                  <a:pos x="368" y="2151"/>
                </a:cxn>
                <a:cxn ang="0">
                  <a:pos x="317" y="2097"/>
                </a:cxn>
                <a:cxn ang="0">
                  <a:pos x="270" y="2040"/>
                </a:cxn>
                <a:cxn ang="0">
                  <a:pos x="225" y="1980"/>
                </a:cxn>
                <a:cxn ang="0">
                  <a:pos x="185" y="1918"/>
                </a:cxn>
                <a:cxn ang="0">
                  <a:pos x="147" y="1853"/>
                </a:cxn>
                <a:cxn ang="0">
                  <a:pos x="114" y="1785"/>
                </a:cxn>
                <a:cxn ang="0">
                  <a:pos x="84" y="1716"/>
                </a:cxn>
                <a:cxn ang="0">
                  <a:pos x="60" y="1645"/>
                </a:cxn>
                <a:cxn ang="0">
                  <a:pos x="38" y="1571"/>
                </a:cxn>
                <a:cxn ang="0">
                  <a:pos x="22" y="1495"/>
                </a:cxn>
                <a:cxn ang="0">
                  <a:pos x="10" y="1419"/>
                </a:cxn>
                <a:cxn ang="0">
                  <a:pos x="2" y="1340"/>
                </a:cxn>
                <a:cxn ang="0">
                  <a:pos x="0" y="1261"/>
                </a:cxn>
                <a:cxn ang="0">
                  <a:pos x="2" y="1181"/>
                </a:cxn>
                <a:cxn ang="0">
                  <a:pos x="10" y="1102"/>
                </a:cxn>
                <a:cxn ang="0">
                  <a:pos x="22" y="1026"/>
                </a:cxn>
                <a:cxn ang="0">
                  <a:pos x="38" y="950"/>
                </a:cxn>
                <a:cxn ang="0">
                  <a:pos x="60" y="877"/>
                </a:cxn>
                <a:cxn ang="0">
                  <a:pos x="84" y="805"/>
                </a:cxn>
                <a:cxn ang="0">
                  <a:pos x="114" y="736"/>
                </a:cxn>
                <a:cxn ang="0">
                  <a:pos x="147" y="668"/>
                </a:cxn>
                <a:cxn ang="0">
                  <a:pos x="185" y="603"/>
                </a:cxn>
                <a:cxn ang="0">
                  <a:pos x="225" y="541"/>
                </a:cxn>
                <a:cxn ang="0">
                  <a:pos x="270" y="481"/>
                </a:cxn>
                <a:cxn ang="0">
                  <a:pos x="317" y="424"/>
                </a:cxn>
                <a:cxn ang="0">
                  <a:pos x="368" y="370"/>
                </a:cxn>
                <a:cxn ang="0">
                  <a:pos x="422" y="318"/>
                </a:cxn>
                <a:cxn ang="0">
                  <a:pos x="480" y="271"/>
                </a:cxn>
                <a:cxn ang="0">
                  <a:pos x="539" y="226"/>
                </a:cxn>
                <a:cxn ang="0">
                  <a:pos x="602" y="186"/>
                </a:cxn>
                <a:cxn ang="0">
                  <a:pos x="666" y="148"/>
                </a:cxn>
                <a:cxn ang="0">
                  <a:pos x="734" y="115"/>
                </a:cxn>
                <a:cxn ang="0">
                  <a:pos x="803" y="85"/>
                </a:cxn>
                <a:cxn ang="0">
                  <a:pos x="875" y="60"/>
                </a:cxn>
                <a:cxn ang="0">
                  <a:pos x="948" y="39"/>
                </a:cxn>
                <a:cxn ang="0">
                  <a:pos x="1023" y="22"/>
                </a:cxn>
                <a:cxn ang="0">
                  <a:pos x="1101" y="10"/>
                </a:cxn>
                <a:cxn ang="0">
                  <a:pos x="1179" y="2"/>
                </a:cxn>
                <a:cxn ang="0">
                  <a:pos x="1258" y="0"/>
                </a:cxn>
              </a:cxnLst>
              <a:rect l="0" t="0" r="r" b="b"/>
              <a:pathLst>
                <a:path w="1258" h="2521">
                  <a:moveTo>
                    <a:pt x="1258" y="0"/>
                  </a:moveTo>
                  <a:lnTo>
                    <a:pt x="1258" y="2521"/>
                  </a:lnTo>
                  <a:lnTo>
                    <a:pt x="1179" y="2519"/>
                  </a:lnTo>
                  <a:lnTo>
                    <a:pt x="1101" y="2511"/>
                  </a:lnTo>
                  <a:lnTo>
                    <a:pt x="1023" y="2499"/>
                  </a:lnTo>
                  <a:lnTo>
                    <a:pt x="948" y="2483"/>
                  </a:lnTo>
                  <a:lnTo>
                    <a:pt x="875" y="2461"/>
                  </a:lnTo>
                  <a:lnTo>
                    <a:pt x="803" y="2436"/>
                  </a:lnTo>
                  <a:lnTo>
                    <a:pt x="734" y="2406"/>
                  </a:lnTo>
                  <a:lnTo>
                    <a:pt x="666" y="2373"/>
                  </a:lnTo>
                  <a:lnTo>
                    <a:pt x="602" y="2335"/>
                  </a:lnTo>
                  <a:lnTo>
                    <a:pt x="539" y="2295"/>
                  </a:lnTo>
                  <a:lnTo>
                    <a:pt x="480" y="2250"/>
                  </a:lnTo>
                  <a:lnTo>
                    <a:pt x="422" y="2203"/>
                  </a:lnTo>
                  <a:lnTo>
                    <a:pt x="368" y="2151"/>
                  </a:lnTo>
                  <a:lnTo>
                    <a:pt x="317" y="2097"/>
                  </a:lnTo>
                  <a:lnTo>
                    <a:pt x="270" y="2040"/>
                  </a:lnTo>
                  <a:lnTo>
                    <a:pt x="225" y="1980"/>
                  </a:lnTo>
                  <a:lnTo>
                    <a:pt x="185" y="1918"/>
                  </a:lnTo>
                  <a:lnTo>
                    <a:pt x="147" y="1853"/>
                  </a:lnTo>
                  <a:lnTo>
                    <a:pt x="114" y="1785"/>
                  </a:lnTo>
                  <a:lnTo>
                    <a:pt x="84" y="1716"/>
                  </a:lnTo>
                  <a:lnTo>
                    <a:pt x="60" y="1645"/>
                  </a:lnTo>
                  <a:lnTo>
                    <a:pt x="38" y="1571"/>
                  </a:lnTo>
                  <a:lnTo>
                    <a:pt x="22" y="1495"/>
                  </a:lnTo>
                  <a:lnTo>
                    <a:pt x="10" y="1419"/>
                  </a:lnTo>
                  <a:lnTo>
                    <a:pt x="2" y="1340"/>
                  </a:lnTo>
                  <a:lnTo>
                    <a:pt x="0" y="1261"/>
                  </a:lnTo>
                  <a:lnTo>
                    <a:pt x="2" y="1181"/>
                  </a:lnTo>
                  <a:lnTo>
                    <a:pt x="10" y="1102"/>
                  </a:lnTo>
                  <a:lnTo>
                    <a:pt x="22" y="1026"/>
                  </a:lnTo>
                  <a:lnTo>
                    <a:pt x="38" y="950"/>
                  </a:lnTo>
                  <a:lnTo>
                    <a:pt x="60" y="877"/>
                  </a:lnTo>
                  <a:lnTo>
                    <a:pt x="84" y="805"/>
                  </a:lnTo>
                  <a:lnTo>
                    <a:pt x="114" y="736"/>
                  </a:lnTo>
                  <a:lnTo>
                    <a:pt x="147" y="668"/>
                  </a:lnTo>
                  <a:lnTo>
                    <a:pt x="185" y="603"/>
                  </a:lnTo>
                  <a:lnTo>
                    <a:pt x="225" y="541"/>
                  </a:lnTo>
                  <a:lnTo>
                    <a:pt x="270" y="481"/>
                  </a:lnTo>
                  <a:lnTo>
                    <a:pt x="317" y="424"/>
                  </a:lnTo>
                  <a:lnTo>
                    <a:pt x="368" y="370"/>
                  </a:lnTo>
                  <a:lnTo>
                    <a:pt x="422" y="318"/>
                  </a:lnTo>
                  <a:lnTo>
                    <a:pt x="480" y="271"/>
                  </a:lnTo>
                  <a:lnTo>
                    <a:pt x="539" y="226"/>
                  </a:lnTo>
                  <a:lnTo>
                    <a:pt x="602" y="186"/>
                  </a:lnTo>
                  <a:lnTo>
                    <a:pt x="666" y="148"/>
                  </a:lnTo>
                  <a:lnTo>
                    <a:pt x="734" y="115"/>
                  </a:lnTo>
                  <a:lnTo>
                    <a:pt x="803" y="85"/>
                  </a:lnTo>
                  <a:lnTo>
                    <a:pt x="875" y="60"/>
                  </a:lnTo>
                  <a:lnTo>
                    <a:pt x="948" y="39"/>
                  </a:lnTo>
                  <a:lnTo>
                    <a:pt x="1023" y="22"/>
                  </a:lnTo>
                  <a:lnTo>
                    <a:pt x="1101" y="10"/>
                  </a:lnTo>
                  <a:lnTo>
                    <a:pt x="1179" y="2"/>
                  </a:lnTo>
                  <a:lnTo>
                    <a:pt x="1258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8"/>
            <p:cNvSpPr>
              <a:spLocks/>
            </p:cNvSpPr>
            <p:nvPr/>
          </p:nvSpPr>
          <p:spPr bwMode="auto">
            <a:xfrm>
              <a:off x="6008688" y="1414463"/>
              <a:ext cx="2008188" cy="40052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84" y="2"/>
                </a:cxn>
                <a:cxn ang="0">
                  <a:pos x="162" y="9"/>
                </a:cxn>
                <a:cxn ang="0">
                  <a:pos x="239" y="22"/>
                </a:cxn>
                <a:cxn ang="0">
                  <a:pos x="315" y="38"/>
                </a:cxn>
                <a:cxn ang="0">
                  <a:pos x="388" y="59"/>
                </a:cxn>
                <a:cxn ang="0">
                  <a:pos x="460" y="85"/>
                </a:cxn>
                <a:cxn ang="0">
                  <a:pos x="530" y="114"/>
                </a:cxn>
                <a:cxn ang="0">
                  <a:pos x="597" y="148"/>
                </a:cxn>
                <a:cxn ang="0">
                  <a:pos x="662" y="185"/>
                </a:cxn>
                <a:cxn ang="0">
                  <a:pos x="724" y="226"/>
                </a:cxn>
                <a:cxn ang="0">
                  <a:pos x="785" y="270"/>
                </a:cxn>
                <a:cxn ang="0">
                  <a:pos x="841" y="319"/>
                </a:cxn>
                <a:cxn ang="0">
                  <a:pos x="896" y="369"/>
                </a:cxn>
                <a:cxn ang="0">
                  <a:pos x="947" y="424"/>
                </a:cxn>
                <a:cxn ang="0">
                  <a:pos x="995" y="481"/>
                </a:cxn>
                <a:cxn ang="0">
                  <a:pos x="1039" y="541"/>
                </a:cxn>
                <a:cxn ang="0">
                  <a:pos x="1080" y="603"/>
                </a:cxn>
                <a:cxn ang="0">
                  <a:pos x="1117" y="668"/>
                </a:cxn>
                <a:cxn ang="0">
                  <a:pos x="1151" y="736"/>
                </a:cxn>
                <a:cxn ang="0">
                  <a:pos x="1180" y="806"/>
                </a:cxn>
                <a:cxn ang="0">
                  <a:pos x="1206" y="878"/>
                </a:cxn>
                <a:cxn ang="0">
                  <a:pos x="1227" y="951"/>
                </a:cxn>
                <a:cxn ang="0">
                  <a:pos x="1243" y="1026"/>
                </a:cxn>
                <a:cxn ang="0">
                  <a:pos x="1256" y="1103"/>
                </a:cxn>
                <a:cxn ang="0">
                  <a:pos x="1263" y="1182"/>
                </a:cxn>
                <a:cxn ang="0">
                  <a:pos x="1265" y="1262"/>
                </a:cxn>
                <a:cxn ang="0">
                  <a:pos x="1263" y="1341"/>
                </a:cxn>
                <a:cxn ang="0">
                  <a:pos x="1256" y="1420"/>
                </a:cxn>
                <a:cxn ang="0">
                  <a:pos x="1243" y="1497"/>
                </a:cxn>
                <a:cxn ang="0">
                  <a:pos x="1227" y="1572"/>
                </a:cxn>
                <a:cxn ang="0">
                  <a:pos x="1206" y="1646"/>
                </a:cxn>
                <a:cxn ang="0">
                  <a:pos x="1180" y="1717"/>
                </a:cxn>
                <a:cxn ang="0">
                  <a:pos x="1151" y="1787"/>
                </a:cxn>
                <a:cxn ang="0">
                  <a:pos x="1117" y="1855"/>
                </a:cxn>
                <a:cxn ang="0">
                  <a:pos x="1080" y="1920"/>
                </a:cxn>
                <a:cxn ang="0">
                  <a:pos x="1039" y="1982"/>
                </a:cxn>
                <a:cxn ang="0">
                  <a:pos x="995" y="2042"/>
                </a:cxn>
                <a:cxn ang="0">
                  <a:pos x="947" y="2100"/>
                </a:cxn>
                <a:cxn ang="0">
                  <a:pos x="896" y="2154"/>
                </a:cxn>
                <a:cxn ang="0">
                  <a:pos x="841" y="2204"/>
                </a:cxn>
                <a:cxn ang="0">
                  <a:pos x="785" y="2253"/>
                </a:cxn>
                <a:cxn ang="0">
                  <a:pos x="724" y="2297"/>
                </a:cxn>
                <a:cxn ang="0">
                  <a:pos x="662" y="2338"/>
                </a:cxn>
                <a:cxn ang="0">
                  <a:pos x="597" y="2375"/>
                </a:cxn>
                <a:cxn ang="0">
                  <a:pos x="530" y="2409"/>
                </a:cxn>
                <a:cxn ang="0">
                  <a:pos x="460" y="2438"/>
                </a:cxn>
                <a:cxn ang="0">
                  <a:pos x="388" y="2464"/>
                </a:cxn>
                <a:cxn ang="0">
                  <a:pos x="315" y="2485"/>
                </a:cxn>
                <a:cxn ang="0">
                  <a:pos x="239" y="2501"/>
                </a:cxn>
                <a:cxn ang="0">
                  <a:pos x="162" y="2514"/>
                </a:cxn>
                <a:cxn ang="0">
                  <a:pos x="84" y="2521"/>
                </a:cxn>
                <a:cxn ang="0">
                  <a:pos x="4" y="2523"/>
                </a:cxn>
                <a:cxn ang="0">
                  <a:pos x="2" y="2523"/>
                </a:cxn>
                <a:cxn ang="0">
                  <a:pos x="2" y="2522"/>
                </a:cxn>
                <a:cxn ang="0">
                  <a:pos x="0" y="2522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1265" h="2523">
                  <a:moveTo>
                    <a:pt x="2" y="0"/>
                  </a:moveTo>
                  <a:lnTo>
                    <a:pt x="4" y="0"/>
                  </a:lnTo>
                  <a:lnTo>
                    <a:pt x="84" y="2"/>
                  </a:lnTo>
                  <a:lnTo>
                    <a:pt x="162" y="9"/>
                  </a:lnTo>
                  <a:lnTo>
                    <a:pt x="239" y="22"/>
                  </a:lnTo>
                  <a:lnTo>
                    <a:pt x="315" y="38"/>
                  </a:lnTo>
                  <a:lnTo>
                    <a:pt x="388" y="59"/>
                  </a:lnTo>
                  <a:lnTo>
                    <a:pt x="460" y="85"/>
                  </a:lnTo>
                  <a:lnTo>
                    <a:pt x="530" y="114"/>
                  </a:lnTo>
                  <a:lnTo>
                    <a:pt x="597" y="148"/>
                  </a:lnTo>
                  <a:lnTo>
                    <a:pt x="662" y="185"/>
                  </a:lnTo>
                  <a:lnTo>
                    <a:pt x="724" y="226"/>
                  </a:lnTo>
                  <a:lnTo>
                    <a:pt x="785" y="270"/>
                  </a:lnTo>
                  <a:lnTo>
                    <a:pt x="841" y="319"/>
                  </a:lnTo>
                  <a:lnTo>
                    <a:pt x="896" y="369"/>
                  </a:lnTo>
                  <a:lnTo>
                    <a:pt x="947" y="424"/>
                  </a:lnTo>
                  <a:lnTo>
                    <a:pt x="995" y="481"/>
                  </a:lnTo>
                  <a:lnTo>
                    <a:pt x="1039" y="541"/>
                  </a:lnTo>
                  <a:lnTo>
                    <a:pt x="1080" y="603"/>
                  </a:lnTo>
                  <a:lnTo>
                    <a:pt x="1117" y="668"/>
                  </a:lnTo>
                  <a:lnTo>
                    <a:pt x="1151" y="736"/>
                  </a:lnTo>
                  <a:lnTo>
                    <a:pt x="1180" y="806"/>
                  </a:lnTo>
                  <a:lnTo>
                    <a:pt x="1206" y="878"/>
                  </a:lnTo>
                  <a:lnTo>
                    <a:pt x="1227" y="951"/>
                  </a:lnTo>
                  <a:lnTo>
                    <a:pt x="1243" y="1026"/>
                  </a:lnTo>
                  <a:lnTo>
                    <a:pt x="1256" y="1103"/>
                  </a:lnTo>
                  <a:lnTo>
                    <a:pt x="1263" y="1182"/>
                  </a:lnTo>
                  <a:lnTo>
                    <a:pt x="1265" y="1262"/>
                  </a:lnTo>
                  <a:lnTo>
                    <a:pt x="1263" y="1341"/>
                  </a:lnTo>
                  <a:lnTo>
                    <a:pt x="1256" y="1420"/>
                  </a:lnTo>
                  <a:lnTo>
                    <a:pt x="1243" y="1497"/>
                  </a:lnTo>
                  <a:lnTo>
                    <a:pt x="1227" y="1572"/>
                  </a:lnTo>
                  <a:lnTo>
                    <a:pt x="1206" y="1646"/>
                  </a:lnTo>
                  <a:lnTo>
                    <a:pt x="1180" y="1717"/>
                  </a:lnTo>
                  <a:lnTo>
                    <a:pt x="1151" y="1787"/>
                  </a:lnTo>
                  <a:lnTo>
                    <a:pt x="1117" y="1855"/>
                  </a:lnTo>
                  <a:lnTo>
                    <a:pt x="1080" y="1920"/>
                  </a:lnTo>
                  <a:lnTo>
                    <a:pt x="1039" y="1982"/>
                  </a:lnTo>
                  <a:lnTo>
                    <a:pt x="995" y="2042"/>
                  </a:lnTo>
                  <a:lnTo>
                    <a:pt x="947" y="2100"/>
                  </a:lnTo>
                  <a:lnTo>
                    <a:pt x="896" y="2154"/>
                  </a:lnTo>
                  <a:lnTo>
                    <a:pt x="841" y="2204"/>
                  </a:lnTo>
                  <a:lnTo>
                    <a:pt x="785" y="2253"/>
                  </a:lnTo>
                  <a:lnTo>
                    <a:pt x="724" y="2297"/>
                  </a:lnTo>
                  <a:lnTo>
                    <a:pt x="662" y="2338"/>
                  </a:lnTo>
                  <a:lnTo>
                    <a:pt x="597" y="2375"/>
                  </a:lnTo>
                  <a:lnTo>
                    <a:pt x="530" y="2409"/>
                  </a:lnTo>
                  <a:lnTo>
                    <a:pt x="460" y="2438"/>
                  </a:lnTo>
                  <a:lnTo>
                    <a:pt x="388" y="2464"/>
                  </a:lnTo>
                  <a:lnTo>
                    <a:pt x="315" y="2485"/>
                  </a:lnTo>
                  <a:lnTo>
                    <a:pt x="239" y="2501"/>
                  </a:lnTo>
                  <a:lnTo>
                    <a:pt x="162" y="2514"/>
                  </a:lnTo>
                  <a:lnTo>
                    <a:pt x="84" y="2521"/>
                  </a:lnTo>
                  <a:lnTo>
                    <a:pt x="4" y="2523"/>
                  </a:lnTo>
                  <a:lnTo>
                    <a:pt x="2" y="2523"/>
                  </a:lnTo>
                  <a:lnTo>
                    <a:pt x="2" y="2522"/>
                  </a:lnTo>
                  <a:lnTo>
                    <a:pt x="0" y="2522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"/>
            <p:cNvSpPr>
              <a:spLocks/>
            </p:cNvSpPr>
            <p:nvPr/>
          </p:nvSpPr>
          <p:spPr bwMode="auto">
            <a:xfrm>
              <a:off x="4265613" y="1668463"/>
              <a:ext cx="1743075" cy="3497263"/>
            </a:xfrm>
            <a:custGeom>
              <a:avLst/>
              <a:gdLst/>
              <a:ahLst/>
              <a:cxnLst>
                <a:cxn ang="0">
                  <a:pos x="1098" y="0"/>
                </a:cxn>
                <a:cxn ang="0">
                  <a:pos x="1098" y="2203"/>
                </a:cxn>
                <a:cxn ang="0">
                  <a:pos x="1023" y="2200"/>
                </a:cxn>
                <a:cxn ang="0">
                  <a:pos x="949" y="2192"/>
                </a:cxn>
                <a:cxn ang="0">
                  <a:pos x="877" y="2180"/>
                </a:cxn>
                <a:cxn ang="0">
                  <a:pos x="806" y="2163"/>
                </a:cxn>
                <a:cxn ang="0">
                  <a:pos x="737" y="2141"/>
                </a:cxn>
                <a:cxn ang="0">
                  <a:pos x="670" y="2115"/>
                </a:cxn>
                <a:cxn ang="0">
                  <a:pos x="606" y="2085"/>
                </a:cxn>
                <a:cxn ang="0">
                  <a:pos x="544" y="2052"/>
                </a:cxn>
                <a:cxn ang="0">
                  <a:pos x="484" y="2013"/>
                </a:cxn>
                <a:cxn ang="0">
                  <a:pos x="427" y="1972"/>
                </a:cxn>
                <a:cxn ang="0">
                  <a:pos x="373" y="1928"/>
                </a:cxn>
                <a:cxn ang="0">
                  <a:pos x="321" y="1879"/>
                </a:cxn>
                <a:cxn ang="0">
                  <a:pos x="273" y="1828"/>
                </a:cxn>
                <a:cxn ang="0">
                  <a:pos x="229" y="1773"/>
                </a:cxn>
                <a:cxn ang="0">
                  <a:pos x="188" y="1716"/>
                </a:cxn>
                <a:cxn ang="0">
                  <a:pos x="149" y="1656"/>
                </a:cxn>
                <a:cxn ang="0">
                  <a:pos x="116" y="1594"/>
                </a:cxn>
                <a:cxn ang="0">
                  <a:pos x="86" y="1529"/>
                </a:cxn>
                <a:cxn ang="0">
                  <a:pos x="60" y="1462"/>
                </a:cxn>
                <a:cxn ang="0">
                  <a:pos x="39" y="1394"/>
                </a:cxn>
                <a:cxn ang="0">
                  <a:pos x="22" y="1323"/>
                </a:cxn>
                <a:cxn ang="0">
                  <a:pos x="10" y="1251"/>
                </a:cxn>
                <a:cxn ang="0">
                  <a:pos x="2" y="1177"/>
                </a:cxn>
                <a:cxn ang="0">
                  <a:pos x="0" y="1102"/>
                </a:cxn>
                <a:cxn ang="0">
                  <a:pos x="2" y="1026"/>
                </a:cxn>
                <a:cxn ang="0">
                  <a:pos x="10" y="952"/>
                </a:cxn>
                <a:cxn ang="0">
                  <a:pos x="22" y="880"/>
                </a:cxn>
                <a:cxn ang="0">
                  <a:pos x="39" y="809"/>
                </a:cxn>
                <a:cxn ang="0">
                  <a:pos x="60" y="741"/>
                </a:cxn>
                <a:cxn ang="0">
                  <a:pos x="86" y="674"/>
                </a:cxn>
                <a:cxn ang="0">
                  <a:pos x="116" y="609"/>
                </a:cxn>
                <a:cxn ang="0">
                  <a:pos x="149" y="547"/>
                </a:cxn>
                <a:cxn ang="0">
                  <a:pos x="188" y="487"/>
                </a:cxn>
                <a:cxn ang="0">
                  <a:pos x="229" y="430"/>
                </a:cxn>
                <a:cxn ang="0">
                  <a:pos x="273" y="375"/>
                </a:cxn>
                <a:cxn ang="0">
                  <a:pos x="321" y="324"/>
                </a:cxn>
                <a:cxn ang="0">
                  <a:pos x="373" y="275"/>
                </a:cxn>
                <a:cxn ang="0">
                  <a:pos x="427" y="231"/>
                </a:cxn>
                <a:cxn ang="0">
                  <a:pos x="484" y="190"/>
                </a:cxn>
                <a:cxn ang="0">
                  <a:pos x="544" y="151"/>
                </a:cxn>
                <a:cxn ang="0">
                  <a:pos x="606" y="118"/>
                </a:cxn>
                <a:cxn ang="0">
                  <a:pos x="670" y="88"/>
                </a:cxn>
                <a:cxn ang="0">
                  <a:pos x="737" y="62"/>
                </a:cxn>
                <a:cxn ang="0">
                  <a:pos x="806" y="40"/>
                </a:cxn>
                <a:cxn ang="0">
                  <a:pos x="877" y="23"/>
                </a:cxn>
                <a:cxn ang="0">
                  <a:pos x="949" y="11"/>
                </a:cxn>
                <a:cxn ang="0">
                  <a:pos x="1023" y="3"/>
                </a:cxn>
                <a:cxn ang="0">
                  <a:pos x="1098" y="0"/>
                </a:cxn>
              </a:cxnLst>
              <a:rect l="0" t="0" r="r" b="b"/>
              <a:pathLst>
                <a:path w="1098" h="2203">
                  <a:moveTo>
                    <a:pt x="1098" y="0"/>
                  </a:moveTo>
                  <a:lnTo>
                    <a:pt x="1098" y="2203"/>
                  </a:lnTo>
                  <a:lnTo>
                    <a:pt x="1023" y="2200"/>
                  </a:lnTo>
                  <a:lnTo>
                    <a:pt x="949" y="2192"/>
                  </a:lnTo>
                  <a:lnTo>
                    <a:pt x="877" y="2180"/>
                  </a:lnTo>
                  <a:lnTo>
                    <a:pt x="806" y="2163"/>
                  </a:lnTo>
                  <a:lnTo>
                    <a:pt x="737" y="2141"/>
                  </a:lnTo>
                  <a:lnTo>
                    <a:pt x="670" y="2115"/>
                  </a:lnTo>
                  <a:lnTo>
                    <a:pt x="606" y="2085"/>
                  </a:lnTo>
                  <a:lnTo>
                    <a:pt x="544" y="2052"/>
                  </a:lnTo>
                  <a:lnTo>
                    <a:pt x="484" y="2013"/>
                  </a:lnTo>
                  <a:lnTo>
                    <a:pt x="427" y="1972"/>
                  </a:lnTo>
                  <a:lnTo>
                    <a:pt x="373" y="1928"/>
                  </a:lnTo>
                  <a:lnTo>
                    <a:pt x="321" y="1879"/>
                  </a:lnTo>
                  <a:lnTo>
                    <a:pt x="273" y="1828"/>
                  </a:lnTo>
                  <a:lnTo>
                    <a:pt x="229" y="1773"/>
                  </a:lnTo>
                  <a:lnTo>
                    <a:pt x="188" y="1716"/>
                  </a:lnTo>
                  <a:lnTo>
                    <a:pt x="149" y="1656"/>
                  </a:lnTo>
                  <a:lnTo>
                    <a:pt x="116" y="1594"/>
                  </a:lnTo>
                  <a:lnTo>
                    <a:pt x="86" y="1529"/>
                  </a:lnTo>
                  <a:lnTo>
                    <a:pt x="60" y="1462"/>
                  </a:lnTo>
                  <a:lnTo>
                    <a:pt x="39" y="1394"/>
                  </a:lnTo>
                  <a:lnTo>
                    <a:pt x="22" y="1323"/>
                  </a:lnTo>
                  <a:lnTo>
                    <a:pt x="10" y="1251"/>
                  </a:lnTo>
                  <a:lnTo>
                    <a:pt x="2" y="1177"/>
                  </a:lnTo>
                  <a:lnTo>
                    <a:pt x="0" y="1102"/>
                  </a:lnTo>
                  <a:lnTo>
                    <a:pt x="2" y="1026"/>
                  </a:lnTo>
                  <a:lnTo>
                    <a:pt x="10" y="952"/>
                  </a:lnTo>
                  <a:lnTo>
                    <a:pt x="22" y="880"/>
                  </a:lnTo>
                  <a:lnTo>
                    <a:pt x="39" y="809"/>
                  </a:lnTo>
                  <a:lnTo>
                    <a:pt x="60" y="741"/>
                  </a:lnTo>
                  <a:lnTo>
                    <a:pt x="86" y="674"/>
                  </a:lnTo>
                  <a:lnTo>
                    <a:pt x="116" y="609"/>
                  </a:lnTo>
                  <a:lnTo>
                    <a:pt x="149" y="547"/>
                  </a:lnTo>
                  <a:lnTo>
                    <a:pt x="188" y="487"/>
                  </a:lnTo>
                  <a:lnTo>
                    <a:pt x="229" y="430"/>
                  </a:lnTo>
                  <a:lnTo>
                    <a:pt x="273" y="375"/>
                  </a:lnTo>
                  <a:lnTo>
                    <a:pt x="321" y="324"/>
                  </a:lnTo>
                  <a:lnTo>
                    <a:pt x="373" y="275"/>
                  </a:lnTo>
                  <a:lnTo>
                    <a:pt x="427" y="231"/>
                  </a:lnTo>
                  <a:lnTo>
                    <a:pt x="484" y="190"/>
                  </a:lnTo>
                  <a:lnTo>
                    <a:pt x="544" y="151"/>
                  </a:lnTo>
                  <a:lnTo>
                    <a:pt x="606" y="118"/>
                  </a:lnTo>
                  <a:lnTo>
                    <a:pt x="670" y="88"/>
                  </a:lnTo>
                  <a:lnTo>
                    <a:pt x="737" y="62"/>
                  </a:lnTo>
                  <a:lnTo>
                    <a:pt x="806" y="40"/>
                  </a:lnTo>
                  <a:lnTo>
                    <a:pt x="877" y="23"/>
                  </a:lnTo>
                  <a:lnTo>
                    <a:pt x="949" y="11"/>
                  </a:lnTo>
                  <a:lnTo>
                    <a:pt x="1023" y="3"/>
                  </a:lnTo>
                  <a:lnTo>
                    <a:pt x="1098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0"/>
            <p:cNvSpPr>
              <a:spLocks/>
            </p:cNvSpPr>
            <p:nvPr/>
          </p:nvSpPr>
          <p:spPr bwMode="auto">
            <a:xfrm>
              <a:off x="6008688" y="1668463"/>
              <a:ext cx="1754188" cy="34972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0" y="3"/>
                </a:cxn>
                <a:cxn ang="0">
                  <a:pos x="154" y="11"/>
                </a:cxn>
                <a:cxn ang="0">
                  <a:pos x="226" y="23"/>
                </a:cxn>
                <a:cxn ang="0">
                  <a:pos x="297" y="39"/>
                </a:cxn>
                <a:cxn ang="0">
                  <a:pos x="366" y="61"/>
                </a:cxn>
                <a:cxn ang="0">
                  <a:pos x="433" y="87"/>
                </a:cxn>
                <a:cxn ang="0">
                  <a:pos x="498" y="116"/>
                </a:cxn>
                <a:cxn ang="0">
                  <a:pos x="560" y="151"/>
                </a:cxn>
                <a:cxn ang="0">
                  <a:pos x="620" y="189"/>
                </a:cxn>
                <a:cxn ang="0">
                  <a:pos x="677" y="230"/>
                </a:cxn>
                <a:cxn ang="0">
                  <a:pos x="732" y="275"/>
                </a:cxn>
                <a:cxn ang="0">
                  <a:pos x="783" y="323"/>
                </a:cxn>
                <a:cxn ang="0">
                  <a:pos x="831" y="374"/>
                </a:cxn>
                <a:cxn ang="0">
                  <a:pos x="876" y="429"/>
                </a:cxn>
                <a:cxn ang="0">
                  <a:pos x="917" y="486"/>
                </a:cxn>
                <a:cxn ang="0">
                  <a:pos x="955" y="546"/>
                </a:cxn>
                <a:cxn ang="0">
                  <a:pos x="989" y="608"/>
                </a:cxn>
                <a:cxn ang="0">
                  <a:pos x="1019" y="673"/>
                </a:cxn>
                <a:cxn ang="0">
                  <a:pos x="1045" y="740"/>
                </a:cxn>
                <a:cxn ang="0">
                  <a:pos x="1066" y="809"/>
                </a:cxn>
                <a:cxn ang="0">
                  <a:pos x="1083" y="880"/>
                </a:cxn>
                <a:cxn ang="0">
                  <a:pos x="1095" y="952"/>
                </a:cxn>
                <a:cxn ang="0">
                  <a:pos x="1103" y="1026"/>
                </a:cxn>
                <a:cxn ang="0">
                  <a:pos x="1105" y="1102"/>
                </a:cxn>
                <a:cxn ang="0">
                  <a:pos x="1103" y="1177"/>
                </a:cxn>
                <a:cxn ang="0">
                  <a:pos x="1095" y="1251"/>
                </a:cxn>
                <a:cxn ang="0">
                  <a:pos x="1083" y="1323"/>
                </a:cxn>
                <a:cxn ang="0">
                  <a:pos x="1066" y="1394"/>
                </a:cxn>
                <a:cxn ang="0">
                  <a:pos x="1045" y="1463"/>
                </a:cxn>
                <a:cxn ang="0">
                  <a:pos x="1019" y="1530"/>
                </a:cxn>
                <a:cxn ang="0">
                  <a:pos x="989" y="1595"/>
                </a:cxn>
                <a:cxn ang="0">
                  <a:pos x="955" y="1657"/>
                </a:cxn>
                <a:cxn ang="0">
                  <a:pos x="917" y="1717"/>
                </a:cxn>
                <a:cxn ang="0">
                  <a:pos x="876" y="1774"/>
                </a:cxn>
                <a:cxn ang="0">
                  <a:pos x="831" y="1829"/>
                </a:cxn>
                <a:cxn ang="0">
                  <a:pos x="783" y="1880"/>
                </a:cxn>
                <a:cxn ang="0">
                  <a:pos x="732" y="1928"/>
                </a:cxn>
                <a:cxn ang="0">
                  <a:pos x="677" y="1973"/>
                </a:cxn>
                <a:cxn ang="0">
                  <a:pos x="620" y="2014"/>
                </a:cxn>
                <a:cxn ang="0">
                  <a:pos x="560" y="2052"/>
                </a:cxn>
                <a:cxn ang="0">
                  <a:pos x="498" y="2087"/>
                </a:cxn>
                <a:cxn ang="0">
                  <a:pos x="433" y="2116"/>
                </a:cxn>
                <a:cxn ang="0">
                  <a:pos x="366" y="2142"/>
                </a:cxn>
                <a:cxn ang="0">
                  <a:pos x="297" y="2164"/>
                </a:cxn>
                <a:cxn ang="0">
                  <a:pos x="226" y="2180"/>
                </a:cxn>
                <a:cxn ang="0">
                  <a:pos x="154" y="2192"/>
                </a:cxn>
                <a:cxn ang="0">
                  <a:pos x="80" y="2200"/>
                </a:cxn>
                <a:cxn ang="0">
                  <a:pos x="4" y="2203"/>
                </a:cxn>
                <a:cxn ang="0">
                  <a:pos x="0" y="2203"/>
                </a:cxn>
                <a:cxn ang="0">
                  <a:pos x="0" y="0"/>
                </a:cxn>
              </a:cxnLst>
              <a:rect l="0" t="0" r="r" b="b"/>
              <a:pathLst>
                <a:path w="1105" h="2203">
                  <a:moveTo>
                    <a:pt x="0" y="0"/>
                  </a:moveTo>
                  <a:lnTo>
                    <a:pt x="4" y="0"/>
                  </a:lnTo>
                  <a:lnTo>
                    <a:pt x="80" y="3"/>
                  </a:lnTo>
                  <a:lnTo>
                    <a:pt x="154" y="11"/>
                  </a:lnTo>
                  <a:lnTo>
                    <a:pt x="226" y="23"/>
                  </a:lnTo>
                  <a:lnTo>
                    <a:pt x="297" y="39"/>
                  </a:lnTo>
                  <a:lnTo>
                    <a:pt x="366" y="61"/>
                  </a:lnTo>
                  <a:lnTo>
                    <a:pt x="433" y="87"/>
                  </a:lnTo>
                  <a:lnTo>
                    <a:pt x="498" y="116"/>
                  </a:lnTo>
                  <a:lnTo>
                    <a:pt x="560" y="151"/>
                  </a:lnTo>
                  <a:lnTo>
                    <a:pt x="620" y="189"/>
                  </a:lnTo>
                  <a:lnTo>
                    <a:pt x="677" y="230"/>
                  </a:lnTo>
                  <a:lnTo>
                    <a:pt x="732" y="275"/>
                  </a:lnTo>
                  <a:lnTo>
                    <a:pt x="783" y="323"/>
                  </a:lnTo>
                  <a:lnTo>
                    <a:pt x="831" y="374"/>
                  </a:lnTo>
                  <a:lnTo>
                    <a:pt x="876" y="429"/>
                  </a:lnTo>
                  <a:lnTo>
                    <a:pt x="917" y="486"/>
                  </a:lnTo>
                  <a:lnTo>
                    <a:pt x="955" y="546"/>
                  </a:lnTo>
                  <a:lnTo>
                    <a:pt x="989" y="608"/>
                  </a:lnTo>
                  <a:lnTo>
                    <a:pt x="1019" y="673"/>
                  </a:lnTo>
                  <a:lnTo>
                    <a:pt x="1045" y="740"/>
                  </a:lnTo>
                  <a:lnTo>
                    <a:pt x="1066" y="809"/>
                  </a:lnTo>
                  <a:lnTo>
                    <a:pt x="1083" y="880"/>
                  </a:lnTo>
                  <a:lnTo>
                    <a:pt x="1095" y="952"/>
                  </a:lnTo>
                  <a:lnTo>
                    <a:pt x="1103" y="1026"/>
                  </a:lnTo>
                  <a:lnTo>
                    <a:pt x="1105" y="1102"/>
                  </a:lnTo>
                  <a:lnTo>
                    <a:pt x="1103" y="1177"/>
                  </a:lnTo>
                  <a:lnTo>
                    <a:pt x="1095" y="1251"/>
                  </a:lnTo>
                  <a:lnTo>
                    <a:pt x="1083" y="1323"/>
                  </a:lnTo>
                  <a:lnTo>
                    <a:pt x="1066" y="1394"/>
                  </a:lnTo>
                  <a:lnTo>
                    <a:pt x="1045" y="1463"/>
                  </a:lnTo>
                  <a:lnTo>
                    <a:pt x="1019" y="1530"/>
                  </a:lnTo>
                  <a:lnTo>
                    <a:pt x="989" y="1595"/>
                  </a:lnTo>
                  <a:lnTo>
                    <a:pt x="955" y="1657"/>
                  </a:lnTo>
                  <a:lnTo>
                    <a:pt x="917" y="1717"/>
                  </a:lnTo>
                  <a:lnTo>
                    <a:pt x="876" y="1774"/>
                  </a:lnTo>
                  <a:lnTo>
                    <a:pt x="831" y="1829"/>
                  </a:lnTo>
                  <a:lnTo>
                    <a:pt x="783" y="1880"/>
                  </a:lnTo>
                  <a:lnTo>
                    <a:pt x="732" y="1928"/>
                  </a:lnTo>
                  <a:lnTo>
                    <a:pt x="677" y="1973"/>
                  </a:lnTo>
                  <a:lnTo>
                    <a:pt x="620" y="2014"/>
                  </a:lnTo>
                  <a:lnTo>
                    <a:pt x="560" y="2052"/>
                  </a:lnTo>
                  <a:lnTo>
                    <a:pt x="498" y="2087"/>
                  </a:lnTo>
                  <a:lnTo>
                    <a:pt x="433" y="2116"/>
                  </a:lnTo>
                  <a:lnTo>
                    <a:pt x="366" y="2142"/>
                  </a:lnTo>
                  <a:lnTo>
                    <a:pt x="297" y="2164"/>
                  </a:lnTo>
                  <a:lnTo>
                    <a:pt x="226" y="2180"/>
                  </a:lnTo>
                  <a:lnTo>
                    <a:pt x="154" y="2192"/>
                  </a:lnTo>
                  <a:lnTo>
                    <a:pt x="80" y="2200"/>
                  </a:lnTo>
                  <a:lnTo>
                    <a:pt x="4" y="2203"/>
                  </a:lnTo>
                  <a:lnTo>
                    <a:pt x="0" y="22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1"/>
            <p:cNvSpPr>
              <a:spLocks noEditPoints="1"/>
            </p:cNvSpPr>
            <p:nvPr/>
          </p:nvSpPr>
          <p:spPr bwMode="auto">
            <a:xfrm>
              <a:off x="5299076" y="2197100"/>
              <a:ext cx="1522413" cy="2397125"/>
            </a:xfrm>
            <a:custGeom>
              <a:avLst/>
              <a:gdLst/>
              <a:ahLst/>
              <a:cxnLst>
                <a:cxn ang="0">
                  <a:pos x="581" y="1159"/>
                </a:cxn>
                <a:cxn ang="0">
                  <a:pos x="653" y="1124"/>
                </a:cxn>
                <a:cxn ang="0">
                  <a:pos x="702" y="1066"/>
                </a:cxn>
                <a:cxn ang="0">
                  <a:pos x="718" y="996"/>
                </a:cxn>
                <a:cxn ang="0">
                  <a:pos x="705" y="934"/>
                </a:cxn>
                <a:cxn ang="0">
                  <a:pos x="663" y="883"/>
                </a:cxn>
                <a:cxn ang="0">
                  <a:pos x="586" y="846"/>
                </a:cxn>
                <a:cxn ang="0">
                  <a:pos x="383" y="277"/>
                </a:cxn>
                <a:cxn ang="0">
                  <a:pos x="318" y="325"/>
                </a:cxn>
                <a:cxn ang="0">
                  <a:pos x="286" y="390"/>
                </a:cxn>
                <a:cxn ang="0">
                  <a:pos x="292" y="457"/>
                </a:cxn>
                <a:cxn ang="0">
                  <a:pos x="333" y="516"/>
                </a:cxn>
                <a:cxn ang="0">
                  <a:pos x="410" y="559"/>
                </a:cxn>
                <a:cxn ang="0">
                  <a:pos x="553" y="0"/>
                </a:cxn>
                <a:cxn ang="0">
                  <a:pos x="637" y="98"/>
                </a:cxn>
                <a:cxn ang="0">
                  <a:pos x="743" y="136"/>
                </a:cxn>
                <a:cxn ang="0">
                  <a:pos x="826" y="197"/>
                </a:cxn>
                <a:cxn ang="0">
                  <a:pos x="884" y="277"/>
                </a:cxn>
                <a:cxn ang="0">
                  <a:pos x="919" y="377"/>
                </a:cxn>
                <a:cxn ang="0">
                  <a:pos x="651" y="353"/>
                </a:cxn>
                <a:cxn ang="0">
                  <a:pos x="601" y="295"/>
                </a:cxn>
                <a:cxn ang="0">
                  <a:pos x="553" y="600"/>
                </a:cxn>
                <a:cxn ang="0">
                  <a:pos x="708" y="645"/>
                </a:cxn>
                <a:cxn ang="0">
                  <a:pos x="822" y="700"/>
                </a:cxn>
                <a:cxn ang="0">
                  <a:pos x="896" y="768"/>
                </a:cxn>
                <a:cxn ang="0">
                  <a:pos x="943" y="858"/>
                </a:cxn>
                <a:cxn ang="0">
                  <a:pos x="959" y="966"/>
                </a:cxn>
                <a:cxn ang="0">
                  <a:pos x="944" y="1074"/>
                </a:cxn>
                <a:cxn ang="0">
                  <a:pos x="898" y="1168"/>
                </a:cxn>
                <a:cxn ang="0">
                  <a:pos x="823" y="1248"/>
                </a:cxn>
                <a:cxn ang="0">
                  <a:pos x="723" y="1308"/>
                </a:cxn>
                <a:cxn ang="0">
                  <a:pos x="599" y="1344"/>
                </a:cxn>
                <a:cxn ang="0">
                  <a:pos x="410" y="1510"/>
                </a:cxn>
                <a:cxn ang="0">
                  <a:pos x="319" y="1340"/>
                </a:cxn>
                <a:cxn ang="0">
                  <a:pos x="201" y="1293"/>
                </a:cxn>
                <a:cxn ang="0">
                  <a:pos x="107" y="1219"/>
                </a:cxn>
                <a:cxn ang="0">
                  <a:pos x="39" y="1118"/>
                </a:cxn>
                <a:cxn ang="0">
                  <a:pos x="0" y="990"/>
                </a:cxn>
                <a:cxn ang="0">
                  <a:pos x="278" y="1029"/>
                </a:cxn>
                <a:cxn ang="0">
                  <a:pos x="337" y="1106"/>
                </a:cxn>
                <a:cxn ang="0">
                  <a:pos x="410" y="1153"/>
                </a:cxn>
                <a:cxn ang="0">
                  <a:pos x="309" y="769"/>
                </a:cxn>
                <a:cxn ang="0">
                  <a:pos x="189" y="707"/>
                </a:cxn>
                <a:cxn ang="0">
                  <a:pos x="105" y="629"/>
                </a:cxn>
                <a:cxn ang="0">
                  <a:pos x="56" y="534"/>
                </a:cxn>
                <a:cxn ang="0">
                  <a:pos x="39" y="424"/>
                </a:cxn>
                <a:cxn ang="0">
                  <a:pos x="57" y="314"/>
                </a:cxn>
                <a:cxn ang="0">
                  <a:pos x="114" y="220"/>
                </a:cxn>
                <a:cxn ang="0">
                  <a:pos x="205" y="144"/>
                </a:cxn>
                <a:cxn ang="0">
                  <a:pos x="320" y="98"/>
                </a:cxn>
                <a:cxn ang="0">
                  <a:pos x="410" y="0"/>
                </a:cxn>
              </a:cxnLst>
              <a:rect l="0" t="0" r="r" b="b"/>
              <a:pathLst>
                <a:path w="959" h="1510">
                  <a:moveTo>
                    <a:pt x="553" y="836"/>
                  </a:moveTo>
                  <a:lnTo>
                    <a:pt x="553" y="1165"/>
                  </a:lnTo>
                  <a:lnTo>
                    <a:pt x="581" y="1159"/>
                  </a:lnTo>
                  <a:lnTo>
                    <a:pt x="608" y="1150"/>
                  </a:lnTo>
                  <a:lnTo>
                    <a:pt x="632" y="1138"/>
                  </a:lnTo>
                  <a:lnTo>
                    <a:pt x="653" y="1124"/>
                  </a:lnTo>
                  <a:lnTo>
                    <a:pt x="672" y="1106"/>
                  </a:lnTo>
                  <a:lnTo>
                    <a:pt x="689" y="1087"/>
                  </a:lnTo>
                  <a:lnTo>
                    <a:pt x="702" y="1066"/>
                  </a:lnTo>
                  <a:lnTo>
                    <a:pt x="711" y="1044"/>
                  </a:lnTo>
                  <a:lnTo>
                    <a:pt x="717" y="1021"/>
                  </a:lnTo>
                  <a:lnTo>
                    <a:pt x="718" y="996"/>
                  </a:lnTo>
                  <a:lnTo>
                    <a:pt x="717" y="974"/>
                  </a:lnTo>
                  <a:lnTo>
                    <a:pt x="712" y="954"/>
                  </a:lnTo>
                  <a:lnTo>
                    <a:pt x="705" y="934"/>
                  </a:lnTo>
                  <a:lnTo>
                    <a:pt x="694" y="916"/>
                  </a:lnTo>
                  <a:lnTo>
                    <a:pt x="680" y="899"/>
                  </a:lnTo>
                  <a:lnTo>
                    <a:pt x="663" y="883"/>
                  </a:lnTo>
                  <a:lnTo>
                    <a:pt x="641" y="869"/>
                  </a:lnTo>
                  <a:lnTo>
                    <a:pt x="616" y="857"/>
                  </a:lnTo>
                  <a:lnTo>
                    <a:pt x="586" y="846"/>
                  </a:lnTo>
                  <a:lnTo>
                    <a:pt x="553" y="836"/>
                  </a:lnTo>
                  <a:close/>
                  <a:moveTo>
                    <a:pt x="410" y="268"/>
                  </a:moveTo>
                  <a:lnTo>
                    <a:pt x="383" y="277"/>
                  </a:lnTo>
                  <a:lnTo>
                    <a:pt x="359" y="290"/>
                  </a:lnTo>
                  <a:lnTo>
                    <a:pt x="337" y="306"/>
                  </a:lnTo>
                  <a:lnTo>
                    <a:pt x="318" y="325"/>
                  </a:lnTo>
                  <a:lnTo>
                    <a:pt x="303" y="346"/>
                  </a:lnTo>
                  <a:lnTo>
                    <a:pt x="293" y="367"/>
                  </a:lnTo>
                  <a:lnTo>
                    <a:pt x="286" y="390"/>
                  </a:lnTo>
                  <a:lnTo>
                    <a:pt x="284" y="414"/>
                  </a:lnTo>
                  <a:lnTo>
                    <a:pt x="286" y="436"/>
                  </a:lnTo>
                  <a:lnTo>
                    <a:pt x="292" y="457"/>
                  </a:lnTo>
                  <a:lnTo>
                    <a:pt x="302" y="478"/>
                  </a:lnTo>
                  <a:lnTo>
                    <a:pt x="316" y="497"/>
                  </a:lnTo>
                  <a:lnTo>
                    <a:pt x="333" y="516"/>
                  </a:lnTo>
                  <a:lnTo>
                    <a:pt x="355" y="532"/>
                  </a:lnTo>
                  <a:lnTo>
                    <a:pt x="381" y="547"/>
                  </a:lnTo>
                  <a:lnTo>
                    <a:pt x="410" y="559"/>
                  </a:lnTo>
                  <a:lnTo>
                    <a:pt x="410" y="268"/>
                  </a:lnTo>
                  <a:close/>
                  <a:moveTo>
                    <a:pt x="410" y="0"/>
                  </a:moveTo>
                  <a:lnTo>
                    <a:pt x="553" y="0"/>
                  </a:lnTo>
                  <a:lnTo>
                    <a:pt x="553" y="83"/>
                  </a:lnTo>
                  <a:lnTo>
                    <a:pt x="596" y="89"/>
                  </a:lnTo>
                  <a:lnTo>
                    <a:pt x="637" y="98"/>
                  </a:lnTo>
                  <a:lnTo>
                    <a:pt x="675" y="108"/>
                  </a:lnTo>
                  <a:lnTo>
                    <a:pt x="710" y="121"/>
                  </a:lnTo>
                  <a:lnTo>
                    <a:pt x="743" y="136"/>
                  </a:lnTo>
                  <a:lnTo>
                    <a:pt x="773" y="155"/>
                  </a:lnTo>
                  <a:lnTo>
                    <a:pt x="801" y="175"/>
                  </a:lnTo>
                  <a:lnTo>
                    <a:pt x="826" y="197"/>
                  </a:lnTo>
                  <a:lnTo>
                    <a:pt x="848" y="222"/>
                  </a:lnTo>
                  <a:lnTo>
                    <a:pt x="868" y="249"/>
                  </a:lnTo>
                  <a:lnTo>
                    <a:pt x="884" y="277"/>
                  </a:lnTo>
                  <a:lnTo>
                    <a:pt x="899" y="308"/>
                  </a:lnTo>
                  <a:lnTo>
                    <a:pt x="910" y="342"/>
                  </a:lnTo>
                  <a:lnTo>
                    <a:pt x="919" y="377"/>
                  </a:lnTo>
                  <a:lnTo>
                    <a:pt x="671" y="404"/>
                  </a:lnTo>
                  <a:lnTo>
                    <a:pt x="663" y="377"/>
                  </a:lnTo>
                  <a:lnTo>
                    <a:pt x="651" y="353"/>
                  </a:lnTo>
                  <a:lnTo>
                    <a:pt x="638" y="331"/>
                  </a:lnTo>
                  <a:lnTo>
                    <a:pt x="621" y="312"/>
                  </a:lnTo>
                  <a:lnTo>
                    <a:pt x="601" y="295"/>
                  </a:lnTo>
                  <a:lnTo>
                    <a:pt x="578" y="281"/>
                  </a:lnTo>
                  <a:lnTo>
                    <a:pt x="553" y="270"/>
                  </a:lnTo>
                  <a:lnTo>
                    <a:pt x="553" y="600"/>
                  </a:lnTo>
                  <a:lnTo>
                    <a:pt x="609" y="614"/>
                  </a:lnTo>
                  <a:lnTo>
                    <a:pt x="661" y="629"/>
                  </a:lnTo>
                  <a:lnTo>
                    <a:pt x="708" y="645"/>
                  </a:lnTo>
                  <a:lnTo>
                    <a:pt x="751" y="662"/>
                  </a:lnTo>
                  <a:lnTo>
                    <a:pt x="788" y="680"/>
                  </a:lnTo>
                  <a:lnTo>
                    <a:pt x="822" y="700"/>
                  </a:lnTo>
                  <a:lnTo>
                    <a:pt x="849" y="720"/>
                  </a:lnTo>
                  <a:lnTo>
                    <a:pt x="873" y="742"/>
                  </a:lnTo>
                  <a:lnTo>
                    <a:pt x="896" y="768"/>
                  </a:lnTo>
                  <a:lnTo>
                    <a:pt x="915" y="796"/>
                  </a:lnTo>
                  <a:lnTo>
                    <a:pt x="931" y="826"/>
                  </a:lnTo>
                  <a:lnTo>
                    <a:pt x="943" y="858"/>
                  </a:lnTo>
                  <a:lnTo>
                    <a:pt x="952" y="892"/>
                  </a:lnTo>
                  <a:lnTo>
                    <a:pt x="958" y="928"/>
                  </a:lnTo>
                  <a:lnTo>
                    <a:pt x="959" y="966"/>
                  </a:lnTo>
                  <a:lnTo>
                    <a:pt x="958" y="1003"/>
                  </a:lnTo>
                  <a:lnTo>
                    <a:pt x="952" y="1039"/>
                  </a:lnTo>
                  <a:lnTo>
                    <a:pt x="944" y="1074"/>
                  </a:lnTo>
                  <a:lnTo>
                    <a:pt x="932" y="1106"/>
                  </a:lnTo>
                  <a:lnTo>
                    <a:pt x="917" y="1138"/>
                  </a:lnTo>
                  <a:lnTo>
                    <a:pt x="898" y="1168"/>
                  </a:lnTo>
                  <a:lnTo>
                    <a:pt x="876" y="1196"/>
                  </a:lnTo>
                  <a:lnTo>
                    <a:pt x="851" y="1223"/>
                  </a:lnTo>
                  <a:lnTo>
                    <a:pt x="823" y="1248"/>
                  </a:lnTo>
                  <a:lnTo>
                    <a:pt x="792" y="1271"/>
                  </a:lnTo>
                  <a:lnTo>
                    <a:pt x="759" y="1291"/>
                  </a:lnTo>
                  <a:lnTo>
                    <a:pt x="723" y="1308"/>
                  </a:lnTo>
                  <a:lnTo>
                    <a:pt x="684" y="1323"/>
                  </a:lnTo>
                  <a:lnTo>
                    <a:pt x="643" y="1335"/>
                  </a:lnTo>
                  <a:lnTo>
                    <a:pt x="599" y="1344"/>
                  </a:lnTo>
                  <a:lnTo>
                    <a:pt x="553" y="1351"/>
                  </a:lnTo>
                  <a:lnTo>
                    <a:pt x="553" y="1510"/>
                  </a:lnTo>
                  <a:lnTo>
                    <a:pt x="410" y="1510"/>
                  </a:lnTo>
                  <a:lnTo>
                    <a:pt x="410" y="1356"/>
                  </a:lnTo>
                  <a:lnTo>
                    <a:pt x="364" y="1350"/>
                  </a:lnTo>
                  <a:lnTo>
                    <a:pt x="319" y="1340"/>
                  </a:lnTo>
                  <a:lnTo>
                    <a:pt x="277" y="1327"/>
                  </a:lnTo>
                  <a:lnTo>
                    <a:pt x="237" y="1312"/>
                  </a:lnTo>
                  <a:lnTo>
                    <a:pt x="201" y="1293"/>
                  </a:lnTo>
                  <a:lnTo>
                    <a:pt x="166" y="1272"/>
                  </a:lnTo>
                  <a:lnTo>
                    <a:pt x="135" y="1247"/>
                  </a:lnTo>
                  <a:lnTo>
                    <a:pt x="107" y="1219"/>
                  </a:lnTo>
                  <a:lnTo>
                    <a:pt x="81" y="1188"/>
                  </a:lnTo>
                  <a:lnTo>
                    <a:pt x="58" y="1155"/>
                  </a:lnTo>
                  <a:lnTo>
                    <a:pt x="39" y="1118"/>
                  </a:lnTo>
                  <a:lnTo>
                    <a:pt x="23" y="1079"/>
                  </a:lnTo>
                  <a:lnTo>
                    <a:pt x="10" y="1036"/>
                  </a:lnTo>
                  <a:lnTo>
                    <a:pt x="0" y="990"/>
                  </a:lnTo>
                  <a:lnTo>
                    <a:pt x="256" y="966"/>
                  </a:lnTo>
                  <a:lnTo>
                    <a:pt x="265" y="998"/>
                  </a:lnTo>
                  <a:lnTo>
                    <a:pt x="278" y="1029"/>
                  </a:lnTo>
                  <a:lnTo>
                    <a:pt x="294" y="1057"/>
                  </a:lnTo>
                  <a:lnTo>
                    <a:pt x="314" y="1083"/>
                  </a:lnTo>
                  <a:lnTo>
                    <a:pt x="337" y="1106"/>
                  </a:lnTo>
                  <a:lnTo>
                    <a:pt x="360" y="1125"/>
                  </a:lnTo>
                  <a:lnTo>
                    <a:pt x="385" y="1141"/>
                  </a:lnTo>
                  <a:lnTo>
                    <a:pt x="410" y="1153"/>
                  </a:lnTo>
                  <a:lnTo>
                    <a:pt x="410" y="800"/>
                  </a:lnTo>
                  <a:lnTo>
                    <a:pt x="358" y="785"/>
                  </a:lnTo>
                  <a:lnTo>
                    <a:pt x="309" y="769"/>
                  </a:lnTo>
                  <a:lnTo>
                    <a:pt x="265" y="750"/>
                  </a:lnTo>
                  <a:lnTo>
                    <a:pt x="224" y="730"/>
                  </a:lnTo>
                  <a:lnTo>
                    <a:pt x="189" y="707"/>
                  </a:lnTo>
                  <a:lnTo>
                    <a:pt x="157" y="683"/>
                  </a:lnTo>
                  <a:lnTo>
                    <a:pt x="129" y="656"/>
                  </a:lnTo>
                  <a:lnTo>
                    <a:pt x="105" y="629"/>
                  </a:lnTo>
                  <a:lnTo>
                    <a:pt x="85" y="598"/>
                  </a:lnTo>
                  <a:lnTo>
                    <a:pt x="69" y="567"/>
                  </a:lnTo>
                  <a:lnTo>
                    <a:pt x="56" y="534"/>
                  </a:lnTo>
                  <a:lnTo>
                    <a:pt x="46" y="499"/>
                  </a:lnTo>
                  <a:lnTo>
                    <a:pt x="41" y="462"/>
                  </a:lnTo>
                  <a:lnTo>
                    <a:pt x="39" y="424"/>
                  </a:lnTo>
                  <a:lnTo>
                    <a:pt x="41" y="385"/>
                  </a:lnTo>
                  <a:lnTo>
                    <a:pt x="47" y="349"/>
                  </a:lnTo>
                  <a:lnTo>
                    <a:pt x="57" y="314"/>
                  </a:lnTo>
                  <a:lnTo>
                    <a:pt x="73" y="280"/>
                  </a:lnTo>
                  <a:lnTo>
                    <a:pt x="91" y="249"/>
                  </a:lnTo>
                  <a:lnTo>
                    <a:pt x="114" y="220"/>
                  </a:lnTo>
                  <a:lnTo>
                    <a:pt x="141" y="192"/>
                  </a:lnTo>
                  <a:lnTo>
                    <a:pt x="171" y="167"/>
                  </a:lnTo>
                  <a:lnTo>
                    <a:pt x="205" y="144"/>
                  </a:lnTo>
                  <a:lnTo>
                    <a:pt x="240" y="126"/>
                  </a:lnTo>
                  <a:lnTo>
                    <a:pt x="278" y="110"/>
                  </a:lnTo>
                  <a:lnTo>
                    <a:pt x="320" y="98"/>
                  </a:lnTo>
                  <a:lnTo>
                    <a:pt x="364" y="89"/>
                  </a:lnTo>
                  <a:lnTo>
                    <a:pt x="410" y="83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3656315" y="4688031"/>
            <a:ext cx="1371600" cy="1334345"/>
            <a:chOff x="4011613" y="1414463"/>
            <a:chExt cx="4149725" cy="4037013"/>
          </a:xfrm>
        </p:grpSpPr>
        <p:sp>
          <p:nvSpPr>
            <p:cNvPr id="84" name="Freeform 6"/>
            <p:cNvSpPr>
              <a:spLocks/>
            </p:cNvSpPr>
            <p:nvPr/>
          </p:nvSpPr>
          <p:spPr bwMode="auto">
            <a:xfrm>
              <a:off x="4154488" y="1446213"/>
              <a:ext cx="4006850" cy="4005263"/>
            </a:xfrm>
            <a:custGeom>
              <a:avLst/>
              <a:gdLst/>
              <a:ahLst/>
              <a:cxnLst>
                <a:cxn ang="0">
                  <a:pos x="1341" y="3"/>
                </a:cxn>
                <a:cxn ang="0">
                  <a:pos x="1497" y="23"/>
                </a:cxn>
                <a:cxn ang="0">
                  <a:pos x="1646" y="60"/>
                </a:cxn>
                <a:cxn ang="0">
                  <a:pos x="1788" y="115"/>
                </a:cxn>
                <a:cxn ang="0">
                  <a:pos x="1920" y="186"/>
                </a:cxn>
                <a:cxn ang="0">
                  <a:pos x="2043" y="271"/>
                </a:cxn>
                <a:cxn ang="0">
                  <a:pos x="2154" y="369"/>
                </a:cxn>
                <a:cxn ang="0">
                  <a:pos x="2254" y="481"/>
                </a:cxn>
                <a:cxn ang="0">
                  <a:pos x="2339" y="604"/>
                </a:cxn>
                <a:cxn ang="0">
                  <a:pos x="2409" y="736"/>
                </a:cxn>
                <a:cxn ang="0">
                  <a:pos x="2464" y="877"/>
                </a:cxn>
                <a:cxn ang="0">
                  <a:pos x="2502" y="1026"/>
                </a:cxn>
                <a:cxn ang="0">
                  <a:pos x="2521" y="1182"/>
                </a:cxn>
                <a:cxn ang="0">
                  <a:pos x="2521" y="1341"/>
                </a:cxn>
                <a:cxn ang="0">
                  <a:pos x="2502" y="1497"/>
                </a:cxn>
                <a:cxn ang="0">
                  <a:pos x="2464" y="1645"/>
                </a:cxn>
                <a:cxn ang="0">
                  <a:pos x="2409" y="1787"/>
                </a:cxn>
                <a:cxn ang="0">
                  <a:pos x="2339" y="1920"/>
                </a:cxn>
                <a:cxn ang="0">
                  <a:pos x="2254" y="2042"/>
                </a:cxn>
                <a:cxn ang="0">
                  <a:pos x="2154" y="2153"/>
                </a:cxn>
                <a:cxn ang="0">
                  <a:pos x="2043" y="2253"/>
                </a:cxn>
                <a:cxn ang="0">
                  <a:pos x="1920" y="2338"/>
                </a:cxn>
                <a:cxn ang="0">
                  <a:pos x="1788" y="2409"/>
                </a:cxn>
                <a:cxn ang="0">
                  <a:pos x="1646" y="2464"/>
                </a:cxn>
                <a:cxn ang="0">
                  <a:pos x="1497" y="2501"/>
                </a:cxn>
                <a:cxn ang="0">
                  <a:pos x="1341" y="2521"/>
                </a:cxn>
                <a:cxn ang="0">
                  <a:pos x="1182" y="2521"/>
                </a:cxn>
                <a:cxn ang="0">
                  <a:pos x="1027" y="2501"/>
                </a:cxn>
                <a:cxn ang="0">
                  <a:pos x="878" y="2464"/>
                </a:cxn>
                <a:cxn ang="0">
                  <a:pos x="736" y="2409"/>
                </a:cxn>
                <a:cxn ang="0">
                  <a:pos x="603" y="2338"/>
                </a:cxn>
                <a:cxn ang="0">
                  <a:pos x="481" y="2253"/>
                </a:cxn>
                <a:cxn ang="0">
                  <a:pos x="370" y="2153"/>
                </a:cxn>
                <a:cxn ang="0">
                  <a:pos x="270" y="2042"/>
                </a:cxn>
                <a:cxn ang="0">
                  <a:pos x="185" y="1920"/>
                </a:cxn>
                <a:cxn ang="0">
                  <a:pos x="114" y="1787"/>
                </a:cxn>
                <a:cxn ang="0">
                  <a:pos x="60" y="1645"/>
                </a:cxn>
                <a:cxn ang="0">
                  <a:pos x="22" y="1497"/>
                </a:cxn>
                <a:cxn ang="0">
                  <a:pos x="2" y="1341"/>
                </a:cxn>
                <a:cxn ang="0">
                  <a:pos x="2" y="1182"/>
                </a:cxn>
                <a:cxn ang="0">
                  <a:pos x="22" y="1026"/>
                </a:cxn>
                <a:cxn ang="0">
                  <a:pos x="60" y="877"/>
                </a:cxn>
                <a:cxn ang="0">
                  <a:pos x="114" y="736"/>
                </a:cxn>
                <a:cxn ang="0">
                  <a:pos x="185" y="604"/>
                </a:cxn>
                <a:cxn ang="0">
                  <a:pos x="270" y="481"/>
                </a:cxn>
                <a:cxn ang="0">
                  <a:pos x="370" y="369"/>
                </a:cxn>
                <a:cxn ang="0">
                  <a:pos x="481" y="271"/>
                </a:cxn>
                <a:cxn ang="0">
                  <a:pos x="603" y="186"/>
                </a:cxn>
                <a:cxn ang="0">
                  <a:pos x="736" y="115"/>
                </a:cxn>
                <a:cxn ang="0">
                  <a:pos x="878" y="60"/>
                </a:cxn>
                <a:cxn ang="0">
                  <a:pos x="1027" y="23"/>
                </a:cxn>
                <a:cxn ang="0">
                  <a:pos x="1182" y="3"/>
                </a:cxn>
              </a:cxnLst>
              <a:rect l="0" t="0" r="r" b="b"/>
              <a:pathLst>
                <a:path w="2524" h="2523">
                  <a:moveTo>
                    <a:pt x="1262" y="0"/>
                  </a:moveTo>
                  <a:lnTo>
                    <a:pt x="1341" y="3"/>
                  </a:lnTo>
                  <a:lnTo>
                    <a:pt x="1420" y="10"/>
                  </a:lnTo>
                  <a:lnTo>
                    <a:pt x="1497" y="23"/>
                  </a:lnTo>
                  <a:lnTo>
                    <a:pt x="1573" y="39"/>
                  </a:lnTo>
                  <a:lnTo>
                    <a:pt x="1646" y="60"/>
                  </a:lnTo>
                  <a:lnTo>
                    <a:pt x="1718" y="86"/>
                  </a:lnTo>
                  <a:lnTo>
                    <a:pt x="1788" y="115"/>
                  </a:lnTo>
                  <a:lnTo>
                    <a:pt x="1855" y="148"/>
                  </a:lnTo>
                  <a:lnTo>
                    <a:pt x="1920" y="186"/>
                  </a:lnTo>
                  <a:lnTo>
                    <a:pt x="1982" y="226"/>
                  </a:lnTo>
                  <a:lnTo>
                    <a:pt x="2043" y="271"/>
                  </a:lnTo>
                  <a:lnTo>
                    <a:pt x="2100" y="318"/>
                  </a:lnTo>
                  <a:lnTo>
                    <a:pt x="2154" y="369"/>
                  </a:lnTo>
                  <a:lnTo>
                    <a:pt x="2205" y="424"/>
                  </a:lnTo>
                  <a:lnTo>
                    <a:pt x="2254" y="481"/>
                  </a:lnTo>
                  <a:lnTo>
                    <a:pt x="2298" y="541"/>
                  </a:lnTo>
                  <a:lnTo>
                    <a:pt x="2339" y="604"/>
                  </a:lnTo>
                  <a:lnTo>
                    <a:pt x="2376" y="668"/>
                  </a:lnTo>
                  <a:lnTo>
                    <a:pt x="2409" y="736"/>
                  </a:lnTo>
                  <a:lnTo>
                    <a:pt x="2439" y="806"/>
                  </a:lnTo>
                  <a:lnTo>
                    <a:pt x="2464" y="877"/>
                  </a:lnTo>
                  <a:lnTo>
                    <a:pt x="2486" y="951"/>
                  </a:lnTo>
                  <a:lnTo>
                    <a:pt x="2502" y="1026"/>
                  </a:lnTo>
                  <a:lnTo>
                    <a:pt x="2514" y="1103"/>
                  </a:lnTo>
                  <a:lnTo>
                    <a:pt x="2521" y="1182"/>
                  </a:lnTo>
                  <a:lnTo>
                    <a:pt x="2524" y="1261"/>
                  </a:lnTo>
                  <a:lnTo>
                    <a:pt x="2521" y="1341"/>
                  </a:lnTo>
                  <a:lnTo>
                    <a:pt x="2514" y="1420"/>
                  </a:lnTo>
                  <a:lnTo>
                    <a:pt x="2502" y="1497"/>
                  </a:lnTo>
                  <a:lnTo>
                    <a:pt x="2486" y="1572"/>
                  </a:lnTo>
                  <a:lnTo>
                    <a:pt x="2464" y="1645"/>
                  </a:lnTo>
                  <a:lnTo>
                    <a:pt x="2439" y="1717"/>
                  </a:lnTo>
                  <a:lnTo>
                    <a:pt x="2409" y="1787"/>
                  </a:lnTo>
                  <a:lnTo>
                    <a:pt x="2376" y="1855"/>
                  </a:lnTo>
                  <a:lnTo>
                    <a:pt x="2339" y="1920"/>
                  </a:lnTo>
                  <a:lnTo>
                    <a:pt x="2298" y="1982"/>
                  </a:lnTo>
                  <a:lnTo>
                    <a:pt x="2254" y="2042"/>
                  </a:lnTo>
                  <a:lnTo>
                    <a:pt x="2205" y="2099"/>
                  </a:lnTo>
                  <a:lnTo>
                    <a:pt x="2154" y="2153"/>
                  </a:lnTo>
                  <a:lnTo>
                    <a:pt x="2100" y="2204"/>
                  </a:lnTo>
                  <a:lnTo>
                    <a:pt x="2043" y="2253"/>
                  </a:lnTo>
                  <a:lnTo>
                    <a:pt x="1982" y="2297"/>
                  </a:lnTo>
                  <a:lnTo>
                    <a:pt x="1920" y="2338"/>
                  </a:lnTo>
                  <a:lnTo>
                    <a:pt x="1855" y="2375"/>
                  </a:lnTo>
                  <a:lnTo>
                    <a:pt x="1788" y="2409"/>
                  </a:lnTo>
                  <a:lnTo>
                    <a:pt x="1718" y="2438"/>
                  </a:lnTo>
                  <a:lnTo>
                    <a:pt x="1646" y="2464"/>
                  </a:lnTo>
                  <a:lnTo>
                    <a:pt x="1573" y="2485"/>
                  </a:lnTo>
                  <a:lnTo>
                    <a:pt x="1497" y="2501"/>
                  </a:lnTo>
                  <a:lnTo>
                    <a:pt x="1420" y="2514"/>
                  </a:lnTo>
                  <a:lnTo>
                    <a:pt x="1341" y="2521"/>
                  </a:lnTo>
                  <a:lnTo>
                    <a:pt x="1262" y="2523"/>
                  </a:lnTo>
                  <a:lnTo>
                    <a:pt x="1182" y="2521"/>
                  </a:lnTo>
                  <a:lnTo>
                    <a:pt x="1104" y="2514"/>
                  </a:lnTo>
                  <a:lnTo>
                    <a:pt x="1027" y="2501"/>
                  </a:lnTo>
                  <a:lnTo>
                    <a:pt x="951" y="2485"/>
                  </a:lnTo>
                  <a:lnTo>
                    <a:pt x="878" y="2464"/>
                  </a:lnTo>
                  <a:lnTo>
                    <a:pt x="806" y="2438"/>
                  </a:lnTo>
                  <a:lnTo>
                    <a:pt x="736" y="2409"/>
                  </a:lnTo>
                  <a:lnTo>
                    <a:pt x="669" y="2375"/>
                  </a:lnTo>
                  <a:lnTo>
                    <a:pt x="603" y="2338"/>
                  </a:lnTo>
                  <a:lnTo>
                    <a:pt x="541" y="2297"/>
                  </a:lnTo>
                  <a:lnTo>
                    <a:pt x="481" y="2253"/>
                  </a:lnTo>
                  <a:lnTo>
                    <a:pt x="424" y="2204"/>
                  </a:lnTo>
                  <a:lnTo>
                    <a:pt x="370" y="2153"/>
                  </a:lnTo>
                  <a:lnTo>
                    <a:pt x="319" y="2099"/>
                  </a:lnTo>
                  <a:lnTo>
                    <a:pt x="270" y="2042"/>
                  </a:lnTo>
                  <a:lnTo>
                    <a:pt x="226" y="1982"/>
                  </a:lnTo>
                  <a:lnTo>
                    <a:pt x="185" y="1920"/>
                  </a:lnTo>
                  <a:lnTo>
                    <a:pt x="148" y="1855"/>
                  </a:lnTo>
                  <a:lnTo>
                    <a:pt x="114" y="1787"/>
                  </a:lnTo>
                  <a:lnTo>
                    <a:pt x="85" y="1717"/>
                  </a:lnTo>
                  <a:lnTo>
                    <a:pt x="60" y="1645"/>
                  </a:lnTo>
                  <a:lnTo>
                    <a:pt x="38" y="1572"/>
                  </a:lnTo>
                  <a:lnTo>
                    <a:pt x="22" y="1497"/>
                  </a:lnTo>
                  <a:lnTo>
                    <a:pt x="9" y="1420"/>
                  </a:lnTo>
                  <a:lnTo>
                    <a:pt x="2" y="1341"/>
                  </a:lnTo>
                  <a:lnTo>
                    <a:pt x="0" y="1261"/>
                  </a:lnTo>
                  <a:lnTo>
                    <a:pt x="2" y="1182"/>
                  </a:lnTo>
                  <a:lnTo>
                    <a:pt x="9" y="1103"/>
                  </a:lnTo>
                  <a:lnTo>
                    <a:pt x="22" y="1026"/>
                  </a:lnTo>
                  <a:lnTo>
                    <a:pt x="38" y="951"/>
                  </a:lnTo>
                  <a:lnTo>
                    <a:pt x="60" y="877"/>
                  </a:lnTo>
                  <a:lnTo>
                    <a:pt x="85" y="806"/>
                  </a:lnTo>
                  <a:lnTo>
                    <a:pt x="114" y="736"/>
                  </a:lnTo>
                  <a:lnTo>
                    <a:pt x="148" y="668"/>
                  </a:lnTo>
                  <a:lnTo>
                    <a:pt x="185" y="604"/>
                  </a:lnTo>
                  <a:lnTo>
                    <a:pt x="226" y="541"/>
                  </a:lnTo>
                  <a:lnTo>
                    <a:pt x="270" y="481"/>
                  </a:lnTo>
                  <a:lnTo>
                    <a:pt x="319" y="424"/>
                  </a:lnTo>
                  <a:lnTo>
                    <a:pt x="370" y="369"/>
                  </a:lnTo>
                  <a:lnTo>
                    <a:pt x="424" y="318"/>
                  </a:lnTo>
                  <a:lnTo>
                    <a:pt x="481" y="271"/>
                  </a:lnTo>
                  <a:lnTo>
                    <a:pt x="541" y="226"/>
                  </a:lnTo>
                  <a:lnTo>
                    <a:pt x="603" y="186"/>
                  </a:lnTo>
                  <a:lnTo>
                    <a:pt x="669" y="148"/>
                  </a:lnTo>
                  <a:lnTo>
                    <a:pt x="736" y="115"/>
                  </a:lnTo>
                  <a:lnTo>
                    <a:pt x="806" y="86"/>
                  </a:lnTo>
                  <a:lnTo>
                    <a:pt x="878" y="60"/>
                  </a:lnTo>
                  <a:lnTo>
                    <a:pt x="951" y="39"/>
                  </a:lnTo>
                  <a:lnTo>
                    <a:pt x="1027" y="23"/>
                  </a:lnTo>
                  <a:lnTo>
                    <a:pt x="1104" y="10"/>
                  </a:lnTo>
                  <a:lnTo>
                    <a:pt x="1182" y="3"/>
                  </a:lnTo>
                  <a:lnTo>
                    <a:pt x="1262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"/>
            <p:cNvSpPr>
              <a:spLocks/>
            </p:cNvSpPr>
            <p:nvPr/>
          </p:nvSpPr>
          <p:spPr bwMode="auto">
            <a:xfrm>
              <a:off x="4011613" y="1416050"/>
              <a:ext cx="1997075" cy="4002088"/>
            </a:xfrm>
            <a:custGeom>
              <a:avLst/>
              <a:gdLst/>
              <a:ahLst/>
              <a:cxnLst>
                <a:cxn ang="0">
                  <a:pos x="1258" y="0"/>
                </a:cxn>
                <a:cxn ang="0">
                  <a:pos x="1258" y="2521"/>
                </a:cxn>
                <a:cxn ang="0">
                  <a:pos x="1179" y="2519"/>
                </a:cxn>
                <a:cxn ang="0">
                  <a:pos x="1101" y="2511"/>
                </a:cxn>
                <a:cxn ang="0">
                  <a:pos x="1023" y="2499"/>
                </a:cxn>
                <a:cxn ang="0">
                  <a:pos x="948" y="2483"/>
                </a:cxn>
                <a:cxn ang="0">
                  <a:pos x="875" y="2461"/>
                </a:cxn>
                <a:cxn ang="0">
                  <a:pos x="803" y="2436"/>
                </a:cxn>
                <a:cxn ang="0">
                  <a:pos x="734" y="2406"/>
                </a:cxn>
                <a:cxn ang="0">
                  <a:pos x="666" y="2373"/>
                </a:cxn>
                <a:cxn ang="0">
                  <a:pos x="602" y="2335"/>
                </a:cxn>
                <a:cxn ang="0">
                  <a:pos x="539" y="2295"/>
                </a:cxn>
                <a:cxn ang="0">
                  <a:pos x="480" y="2250"/>
                </a:cxn>
                <a:cxn ang="0">
                  <a:pos x="422" y="2203"/>
                </a:cxn>
                <a:cxn ang="0">
                  <a:pos x="368" y="2151"/>
                </a:cxn>
                <a:cxn ang="0">
                  <a:pos x="317" y="2097"/>
                </a:cxn>
                <a:cxn ang="0">
                  <a:pos x="270" y="2040"/>
                </a:cxn>
                <a:cxn ang="0">
                  <a:pos x="225" y="1980"/>
                </a:cxn>
                <a:cxn ang="0">
                  <a:pos x="185" y="1918"/>
                </a:cxn>
                <a:cxn ang="0">
                  <a:pos x="147" y="1853"/>
                </a:cxn>
                <a:cxn ang="0">
                  <a:pos x="114" y="1785"/>
                </a:cxn>
                <a:cxn ang="0">
                  <a:pos x="84" y="1716"/>
                </a:cxn>
                <a:cxn ang="0">
                  <a:pos x="60" y="1645"/>
                </a:cxn>
                <a:cxn ang="0">
                  <a:pos x="38" y="1571"/>
                </a:cxn>
                <a:cxn ang="0">
                  <a:pos x="22" y="1495"/>
                </a:cxn>
                <a:cxn ang="0">
                  <a:pos x="10" y="1419"/>
                </a:cxn>
                <a:cxn ang="0">
                  <a:pos x="2" y="1340"/>
                </a:cxn>
                <a:cxn ang="0">
                  <a:pos x="0" y="1261"/>
                </a:cxn>
                <a:cxn ang="0">
                  <a:pos x="2" y="1181"/>
                </a:cxn>
                <a:cxn ang="0">
                  <a:pos x="10" y="1102"/>
                </a:cxn>
                <a:cxn ang="0">
                  <a:pos x="22" y="1026"/>
                </a:cxn>
                <a:cxn ang="0">
                  <a:pos x="38" y="950"/>
                </a:cxn>
                <a:cxn ang="0">
                  <a:pos x="60" y="877"/>
                </a:cxn>
                <a:cxn ang="0">
                  <a:pos x="84" y="805"/>
                </a:cxn>
                <a:cxn ang="0">
                  <a:pos x="114" y="736"/>
                </a:cxn>
                <a:cxn ang="0">
                  <a:pos x="147" y="668"/>
                </a:cxn>
                <a:cxn ang="0">
                  <a:pos x="185" y="603"/>
                </a:cxn>
                <a:cxn ang="0">
                  <a:pos x="225" y="541"/>
                </a:cxn>
                <a:cxn ang="0">
                  <a:pos x="270" y="481"/>
                </a:cxn>
                <a:cxn ang="0">
                  <a:pos x="317" y="424"/>
                </a:cxn>
                <a:cxn ang="0">
                  <a:pos x="368" y="370"/>
                </a:cxn>
                <a:cxn ang="0">
                  <a:pos x="422" y="318"/>
                </a:cxn>
                <a:cxn ang="0">
                  <a:pos x="480" y="271"/>
                </a:cxn>
                <a:cxn ang="0">
                  <a:pos x="539" y="226"/>
                </a:cxn>
                <a:cxn ang="0">
                  <a:pos x="602" y="186"/>
                </a:cxn>
                <a:cxn ang="0">
                  <a:pos x="666" y="148"/>
                </a:cxn>
                <a:cxn ang="0">
                  <a:pos x="734" y="115"/>
                </a:cxn>
                <a:cxn ang="0">
                  <a:pos x="803" y="85"/>
                </a:cxn>
                <a:cxn ang="0">
                  <a:pos x="875" y="60"/>
                </a:cxn>
                <a:cxn ang="0">
                  <a:pos x="948" y="39"/>
                </a:cxn>
                <a:cxn ang="0">
                  <a:pos x="1023" y="22"/>
                </a:cxn>
                <a:cxn ang="0">
                  <a:pos x="1101" y="10"/>
                </a:cxn>
                <a:cxn ang="0">
                  <a:pos x="1179" y="2"/>
                </a:cxn>
                <a:cxn ang="0">
                  <a:pos x="1258" y="0"/>
                </a:cxn>
              </a:cxnLst>
              <a:rect l="0" t="0" r="r" b="b"/>
              <a:pathLst>
                <a:path w="1258" h="2521">
                  <a:moveTo>
                    <a:pt x="1258" y="0"/>
                  </a:moveTo>
                  <a:lnTo>
                    <a:pt x="1258" y="2521"/>
                  </a:lnTo>
                  <a:lnTo>
                    <a:pt x="1179" y="2519"/>
                  </a:lnTo>
                  <a:lnTo>
                    <a:pt x="1101" y="2511"/>
                  </a:lnTo>
                  <a:lnTo>
                    <a:pt x="1023" y="2499"/>
                  </a:lnTo>
                  <a:lnTo>
                    <a:pt x="948" y="2483"/>
                  </a:lnTo>
                  <a:lnTo>
                    <a:pt x="875" y="2461"/>
                  </a:lnTo>
                  <a:lnTo>
                    <a:pt x="803" y="2436"/>
                  </a:lnTo>
                  <a:lnTo>
                    <a:pt x="734" y="2406"/>
                  </a:lnTo>
                  <a:lnTo>
                    <a:pt x="666" y="2373"/>
                  </a:lnTo>
                  <a:lnTo>
                    <a:pt x="602" y="2335"/>
                  </a:lnTo>
                  <a:lnTo>
                    <a:pt x="539" y="2295"/>
                  </a:lnTo>
                  <a:lnTo>
                    <a:pt x="480" y="2250"/>
                  </a:lnTo>
                  <a:lnTo>
                    <a:pt x="422" y="2203"/>
                  </a:lnTo>
                  <a:lnTo>
                    <a:pt x="368" y="2151"/>
                  </a:lnTo>
                  <a:lnTo>
                    <a:pt x="317" y="2097"/>
                  </a:lnTo>
                  <a:lnTo>
                    <a:pt x="270" y="2040"/>
                  </a:lnTo>
                  <a:lnTo>
                    <a:pt x="225" y="1980"/>
                  </a:lnTo>
                  <a:lnTo>
                    <a:pt x="185" y="1918"/>
                  </a:lnTo>
                  <a:lnTo>
                    <a:pt x="147" y="1853"/>
                  </a:lnTo>
                  <a:lnTo>
                    <a:pt x="114" y="1785"/>
                  </a:lnTo>
                  <a:lnTo>
                    <a:pt x="84" y="1716"/>
                  </a:lnTo>
                  <a:lnTo>
                    <a:pt x="60" y="1645"/>
                  </a:lnTo>
                  <a:lnTo>
                    <a:pt x="38" y="1571"/>
                  </a:lnTo>
                  <a:lnTo>
                    <a:pt x="22" y="1495"/>
                  </a:lnTo>
                  <a:lnTo>
                    <a:pt x="10" y="1419"/>
                  </a:lnTo>
                  <a:lnTo>
                    <a:pt x="2" y="1340"/>
                  </a:lnTo>
                  <a:lnTo>
                    <a:pt x="0" y="1261"/>
                  </a:lnTo>
                  <a:lnTo>
                    <a:pt x="2" y="1181"/>
                  </a:lnTo>
                  <a:lnTo>
                    <a:pt x="10" y="1102"/>
                  </a:lnTo>
                  <a:lnTo>
                    <a:pt x="22" y="1026"/>
                  </a:lnTo>
                  <a:lnTo>
                    <a:pt x="38" y="950"/>
                  </a:lnTo>
                  <a:lnTo>
                    <a:pt x="60" y="877"/>
                  </a:lnTo>
                  <a:lnTo>
                    <a:pt x="84" y="805"/>
                  </a:lnTo>
                  <a:lnTo>
                    <a:pt x="114" y="736"/>
                  </a:lnTo>
                  <a:lnTo>
                    <a:pt x="147" y="668"/>
                  </a:lnTo>
                  <a:lnTo>
                    <a:pt x="185" y="603"/>
                  </a:lnTo>
                  <a:lnTo>
                    <a:pt x="225" y="541"/>
                  </a:lnTo>
                  <a:lnTo>
                    <a:pt x="270" y="481"/>
                  </a:lnTo>
                  <a:lnTo>
                    <a:pt x="317" y="424"/>
                  </a:lnTo>
                  <a:lnTo>
                    <a:pt x="368" y="370"/>
                  </a:lnTo>
                  <a:lnTo>
                    <a:pt x="422" y="318"/>
                  </a:lnTo>
                  <a:lnTo>
                    <a:pt x="480" y="271"/>
                  </a:lnTo>
                  <a:lnTo>
                    <a:pt x="539" y="226"/>
                  </a:lnTo>
                  <a:lnTo>
                    <a:pt x="602" y="186"/>
                  </a:lnTo>
                  <a:lnTo>
                    <a:pt x="666" y="148"/>
                  </a:lnTo>
                  <a:lnTo>
                    <a:pt x="734" y="115"/>
                  </a:lnTo>
                  <a:lnTo>
                    <a:pt x="803" y="85"/>
                  </a:lnTo>
                  <a:lnTo>
                    <a:pt x="875" y="60"/>
                  </a:lnTo>
                  <a:lnTo>
                    <a:pt x="948" y="39"/>
                  </a:lnTo>
                  <a:lnTo>
                    <a:pt x="1023" y="22"/>
                  </a:lnTo>
                  <a:lnTo>
                    <a:pt x="1101" y="10"/>
                  </a:lnTo>
                  <a:lnTo>
                    <a:pt x="1179" y="2"/>
                  </a:lnTo>
                  <a:lnTo>
                    <a:pt x="1258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"/>
            <p:cNvSpPr>
              <a:spLocks/>
            </p:cNvSpPr>
            <p:nvPr/>
          </p:nvSpPr>
          <p:spPr bwMode="auto">
            <a:xfrm>
              <a:off x="6008688" y="1414463"/>
              <a:ext cx="2008188" cy="40052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84" y="2"/>
                </a:cxn>
                <a:cxn ang="0">
                  <a:pos x="162" y="9"/>
                </a:cxn>
                <a:cxn ang="0">
                  <a:pos x="239" y="22"/>
                </a:cxn>
                <a:cxn ang="0">
                  <a:pos x="315" y="38"/>
                </a:cxn>
                <a:cxn ang="0">
                  <a:pos x="388" y="59"/>
                </a:cxn>
                <a:cxn ang="0">
                  <a:pos x="460" y="85"/>
                </a:cxn>
                <a:cxn ang="0">
                  <a:pos x="530" y="114"/>
                </a:cxn>
                <a:cxn ang="0">
                  <a:pos x="597" y="148"/>
                </a:cxn>
                <a:cxn ang="0">
                  <a:pos x="662" y="185"/>
                </a:cxn>
                <a:cxn ang="0">
                  <a:pos x="724" y="226"/>
                </a:cxn>
                <a:cxn ang="0">
                  <a:pos x="785" y="270"/>
                </a:cxn>
                <a:cxn ang="0">
                  <a:pos x="841" y="319"/>
                </a:cxn>
                <a:cxn ang="0">
                  <a:pos x="896" y="369"/>
                </a:cxn>
                <a:cxn ang="0">
                  <a:pos x="947" y="424"/>
                </a:cxn>
                <a:cxn ang="0">
                  <a:pos x="995" y="481"/>
                </a:cxn>
                <a:cxn ang="0">
                  <a:pos x="1039" y="541"/>
                </a:cxn>
                <a:cxn ang="0">
                  <a:pos x="1080" y="603"/>
                </a:cxn>
                <a:cxn ang="0">
                  <a:pos x="1117" y="668"/>
                </a:cxn>
                <a:cxn ang="0">
                  <a:pos x="1151" y="736"/>
                </a:cxn>
                <a:cxn ang="0">
                  <a:pos x="1180" y="806"/>
                </a:cxn>
                <a:cxn ang="0">
                  <a:pos x="1206" y="878"/>
                </a:cxn>
                <a:cxn ang="0">
                  <a:pos x="1227" y="951"/>
                </a:cxn>
                <a:cxn ang="0">
                  <a:pos x="1243" y="1026"/>
                </a:cxn>
                <a:cxn ang="0">
                  <a:pos x="1256" y="1103"/>
                </a:cxn>
                <a:cxn ang="0">
                  <a:pos x="1263" y="1182"/>
                </a:cxn>
                <a:cxn ang="0">
                  <a:pos x="1265" y="1262"/>
                </a:cxn>
                <a:cxn ang="0">
                  <a:pos x="1263" y="1341"/>
                </a:cxn>
                <a:cxn ang="0">
                  <a:pos x="1256" y="1420"/>
                </a:cxn>
                <a:cxn ang="0">
                  <a:pos x="1243" y="1497"/>
                </a:cxn>
                <a:cxn ang="0">
                  <a:pos x="1227" y="1572"/>
                </a:cxn>
                <a:cxn ang="0">
                  <a:pos x="1206" y="1646"/>
                </a:cxn>
                <a:cxn ang="0">
                  <a:pos x="1180" y="1717"/>
                </a:cxn>
                <a:cxn ang="0">
                  <a:pos x="1151" y="1787"/>
                </a:cxn>
                <a:cxn ang="0">
                  <a:pos x="1117" y="1855"/>
                </a:cxn>
                <a:cxn ang="0">
                  <a:pos x="1080" y="1920"/>
                </a:cxn>
                <a:cxn ang="0">
                  <a:pos x="1039" y="1982"/>
                </a:cxn>
                <a:cxn ang="0">
                  <a:pos x="995" y="2042"/>
                </a:cxn>
                <a:cxn ang="0">
                  <a:pos x="947" y="2100"/>
                </a:cxn>
                <a:cxn ang="0">
                  <a:pos x="896" y="2154"/>
                </a:cxn>
                <a:cxn ang="0">
                  <a:pos x="841" y="2204"/>
                </a:cxn>
                <a:cxn ang="0">
                  <a:pos x="785" y="2253"/>
                </a:cxn>
                <a:cxn ang="0">
                  <a:pos x="724" y="2297"/>
                </a:cxn>
                <a:cxn ang="0">
                  <a:pos x="662" y="2338"/>
                </a:cxn>
                <a:cxn ang="0">
                  <a:pos x="597" y="2375"/>
                </a:cxn>
                <a:cxn ang="0">
                  <a:pos x="530" y="2409"/>
                </a:cxn>
                <a:cxn ang="0">
                  <a:pos x="460" y="2438"/>
                </a:cxn>
                <a:cxn ang="0">
                  <a:pos x="388" y="2464"/>
                </a:cxn>
                <a:cxn ang="0">
                  <a:pos x="315" y="2485"/>
                </a:cxn>
                <a:cxn ang="0">
                  <a:pos x="239" y="2501"/>
                </a:cxn>
                <a:cxn ang="0">
                  <a:pos x="162" y="2514"/>
                </a:cxn>
                <a:cxn ang="0">
                  <a:pos x="84" y="2521"/>
                </a:cxn>
                <a:cxn ang="0">
                  <a:pos x="4" y="2523"/>
                </a:cxn>
                <a:cxn ang="0">
                  <a:pos x="2" y="2523"/>
                </a:cxn>
                <a:cxn ang="0">
                  <a:pos x="2" y="2522"/>
                </a:cxn>
                <a:cxn ang="0">
                  <a:pos x="0" y="2522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1265" h="2523">
                  <a:moveTo>
                    <a:pt x="2" y="0"/>
                  </a:moveTo>
                  <a:lnTo>
                    <a:pt x="4" y="0"/>
                  </a:lnTo>
                  <a:lnTo>
                    <a:pt x="84" y="2"/>
                  </a:lnTo>
                  <a:lnTo>
                    <a:pt x="162" y="9"/>
                  </a:lnTo>
                  <a:lnTo>
                    <a:pt x="239" y="22"/>
                  </a:lnTo>
                  <a:lnTo>
                    <a:pt x="315" y="38"/>
                  </a:lnTo>
                  <a:lnTo>
                    <a:pt x="388" y="59"/>
                  </a:lnTo>
                  <a:lnTo>
                    <a:pt x="460" y="85"/>
                  </a:lnTo>
                  <a:lnTo>
                    <a:pt x="530" y="114"/>
                  </a:lnTo>
                  <a:lnTo>
                    <a:pt x="597" y="148"/>
                  </a:lnTo>
                  <a:lnTo>
                    <a:pt x="662" y="185"/>
                  </a:lnTo>
                  <a:lnTo>
                    <a:pt x="724" y="226"/>
                  </a:lnTo>
                  <a:lnTo>
                    <a:pt x="785" y="270"/>
                  </a:lnTo>
                  <a:lnTo>
                    <a:pt x="841" y="319"/>
                  </a:lnTo>
                  <a:lnTo>
                    <a:pt x="896" y="369"/>
                  </a:lnTo>
                  <a:lnTo>
                    <a:pt x="947" y="424"/>
                  </a:lnTo>
                  <a:lnTo>
                    <a:pt x="995" y="481"/>
                  </a:lnTo>
                  <a:lnTo>
                    <a:pt x="1039" y="541"/>
                  </a:lnTo>
                  <a:lnTo>
                    <a:pt x="1080" y="603"/>
                  </a:lnTo>
                  <a:lnTo>
                    <a:pt x="1117" y="668"/>
                  </a:lnTo>
                  <a:lnTo>
                    <a:pt x="1151" y="736"/>
                  </a:lnTo>
                  <a:lnTo>
                    <a:pt x="1180" y="806"/>
                  </a:lnTo>
                  <a:lnTo>
                    <a:pt x="1206" y="878"/>
                  </a:lnTo>
                  <a:lnTo>
                    <a:pt x="1227" y="951"/>
                  </a:lnTo>
                  <a:lnTo>
                    <a:pt x="1243" y="1026"/>
                  </a:lnTo>
                  <a:lnTo>
                    <a:pt x="1256" y="1103"/>
                  </a:lnTo>
                  <a:lnTo>
                    <a:pt x="1263" y="1182"/>
                  </a:lnTo>
                  <a:lnTo>
                    <a:pt x="1265" y="1262"/>
                  </a:lnTo>
                  <a:lnTo>
                    <a:pt x="1263" y="1341"/>
                  </a:lnTo>
                  <a:lnTo>
                    <a:pt x="1256" y="1420"/>
                  </a:lnTo>
                  <a:lnTo>
                    <a:pt x="1243" y="1497"/>
                  </a:lnTo>
                  <a:lnTo>
                    <a:pt x="1227" y="1572"/>
                  </a:lnTo>
                  <a:lnTo>
                    <a:pt x="1206" y="1646"/>
                  </a:lnTo>
                  <a:lnTo>
                    <a:pt x="1180" y="1717"/>
                  </a:lnTo>
                  <a:lnTo>
                    <a:pt x="1151" y="1787"/>
                  </a:lnTo>
                  <a:lnTo>
                    <a:pt x="1117" y="1855"/>
                  </a:lnTo>
                  <a:lnTo>
                    <a:pt x="1080" y="1920"/>
                  </a:lnTo>
                  <a:lnTo>
                    <a:pt x="1039" y="1982"/>
                  </a:lnTo>
                  <a:lnTo>
                    <a:pt x="995" y="2042"/>
                  </a:lnTo>
                  <a:lnTo>
                    <a:pt x="947" y="2100"/>
                  </a:lnTo>
                  <a:lnTo>
                    <a:pt x="896" y="2154"/>
                  </a:lnTo>
                  <a:lnTo>
                    <a:pt x="841" y="2204"/>
                  </a:lnTo>
                  <a:lnTo>
                    <a:pt x="785" y="2253"/>
                  </a:lnTo>
                  <a:lnTo>
                    <a:pt x="724" y="2297"/>
                  </a:lnTo>
                  <a:lnTo>
                    <a:pt x="662" y="2338"/>
                  </a:lnTo>
                  <a:lnTo>
                    <a:pt x="597" y="2375"/>
                  </a:lnTo>
                  <a:lnTo>
                    <a:pt x="530" y="2409"/>
                  </a:lnTo>
                  <a:lnTo>
                    <a:pt x="460" y="2438"/>
                  </a:lnTo>
                  <a:lnTo>
                    <a:pt x="388" y="2464"/>
                  </a:lnTo>
                  <a:lnTo>
                    <a:pt x="315" y="2485"/>
                  </a:lnTo>
                  <a:lnTo>
                    <a:pt x="239" y="2501"/>
                  </a:lnTo>
                  <a:lnTo>
                    <a:pt x="162" y="2514"/>
                  </a:lnTo>
                  <a:lnTo>
                    <a:pt x="84" y="2521"/>
                  </a:lnTo>
                  <a:lnTo>
                    <a:pt x="4" y="2523"/>
                  </a:lnTo>
                  <a:lnTo>
                    <a:pt x="2" y="2523"/>
                  </a:lnTo>
                  <a:lnTo>
                    <a:pt x="2" y="2522"/>
                  </a:lnTo>
                  <a:lnTo>
                    <a:pt x="0" y="2522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"/>
            <p:cNvSpPr>
              <a:spLocks/>
            </p:cNvSpPr>
            <p:nvPr/>
          </p:nvSpPr>
          <p:spPr bwMode="auto">
            <a:xfrm>
              <a:off x="4265613" y="1668463"/>
              <a:ext cx="1743075" cy="3497263"/>
            </a:xfrm>
            <a:custGeom>
              <a:avLst/>
              <a:gdLst/>
              <a:ahLst/>
              <a:cxnLst>
                <a:cxn ang="0">
                  <a:pos x="1098" y="0"/>
                </a:cxn>
                <a:cxn ang="0">
                  <a:pos x="1098" y="2203"/>
                </a:cxn>
                <a:cxn ang="0">
                  <a:pos x="1023" y="2200"/>
                </a:cxn>
                <a:cxn ang="0">
                  <a:pos x="949" y="2192"/>
                </a:cxn>
                <a:cxn ang="0">
                  <a:pos x="877" y="2180"/>
                </a:cxn>
                <a:cxn ang="0">
                  <a:pos x="806" y="2163"/>
                </a:cxn>
                <a:cxn ang="0">
                  <a:pos x="737" y="2141"/>
                </a:cxn>
                <a:cxn ang="0">
                  <a:pos x="670" y="2115"/>
                </a:cxn>
                <a:cxn ang="0">
                  <a:pos x="606" y="2085"/>
                </a:cxn>
                <a:cxn ang="0">
                  <a:pos x="544" y="2052"/>
                </a:cxn>
                <a:cxn ang="0">
                  <a:pos x="484" y="2013"/>
                </a:cxn>
                <a:cxn ang="0">
                  <a:pos x="427" y="1972"/>
                </a:cxn>
                <a:cxn ang="0">
                  <a:pos x="373" y="1928"/>
                </a:cxn>
                <a:cxn ang="0">
                  <a:pos x="321" y="1879"/>
                </a:cxn>
                <a:cxn ang="0">
                  <a:pos x="273" y="1828"/>
                </a:cxn>
                <a:cxn ang="0">
                  <a:pos x="229" y="1773"/>
                </a:cxn>
                <a:cxn ang="0">
                  <a:pos x="188" y="1716"/>
                </a:cxn>
                <a:cxn ang="0">
                  <a:pos x="149" y="1656"/>
                </a:cxn>
                <a:cxn ang="0">
                  <a:pos x="116" y="1594"/>
                </a:cxn>
                <a:cxn ang="0">
                  <a:pos x="86" y="1529"/>
                </a:cxn>
                <a:cxn ang="0">
                  <a:pos x="60" y="1462"/>
                </a:cxn>
                <a:cxn ang="0">
                  <a:pos x="39" y="1394"/>
                </a:cxn>
                <a:cxn ang="0">
                  <a:pos x="22" y="1323"/>
                </a:cxn>
                <a:cxn ang="0">
                  <a:pos x="10" y="1251"/>
                </a:cxn>
                <a:cxn ang="0">
                  <a:pos x="2" y="1177"/>
                </a:cxn>
                <a:cxn ang="0">
                  <a:pos x="0" y="1102"/>
                </a:cxn>
                <a:cxn ang="0">
                  <a:pos x="2" y="1026"/>
                </a:cxn>
                <a:cxn ang="0">
                  <a:pos x="10" y="952"/>
                </a:cxn>
                <a:cxn ang="0">
                  <a:pos x="22" y="880"/>
                </a:cxn>
                <a:cxn ang="0">
                  <a:pos x="39" y="809"/>
                </a:cxn>
                <a:cxn ang="0">
                  <a:pos x="60" y="741"/>
                </a:cxn>
                <a:cxn ang="0">
                  <a:pos x="86" y="674"/>
                </a:cxn>
                <a:cxn ang="0">
                  <a:pos x="116" y="609"/>
                </a:cxn>
                <a:cxn ang="0">
                  <a:pos x="149" y="547"/>
                </a:cxn>
                <a:cxn ang="0">
                  <a:pos x="188" y="487"/>
                </a:cxn>
                <a:cxn ang="0">
                  <a:pos x="229" y="430"/>
                </a:cxn>
                <a:cxn ang="0">
                  <a:pos x="273" y="375"/>
                </a:cxn>
                <a:cxn ang="0">
                  <a:pos x="321" y="324"/>
                </a:cxn>
                <a:cxn ang="0">
                  <a:pos x="373" y="275"/>
                </a:cxn>
                <a:cxn ang="0">
                  <a:pos x="427" y="231"/>
                </a:cxn>
                <a:cxn ang="0">
                  <a:pos x="484" y="190"/>
                </a:cxn>
                <a:cxn ang="0">
                  <a:pos x="544" y="151"/>
                </a:cxn>
                <a:cxn ang="0">
                  <a:pos x="606" y="118"/>
                </a:cxn>
                <a:cxn ang="0">
                  <a:pos x="670" y="88"/>
                </a:cxn>
                <a:cxn ang="0">
                  <a:pos x="737" y="62"/>
                </a:cxn>
                <a:cxn ang="0">
                  <a:pos x="806" y="40"/>
                </a:cxn>
                <a:cxn ang="0">
                  <a:pos x="877" y="23"/>
                </a:cxn>
                <a:cxn ang="0">
                  <a:pos x="949" y="11"/>
                </a:cxn>
                <a:cxn ang="0">
                  <a:pos x="1023" y="3"/>
                </a:cxn>
                <a:cxn ang="0">
                  <a:pos x="1098" y="0"/>
                </a:cxn>
              </a:cxnLst>
              <a:rect l="0" t="0" r="r" b="b"/>
              <a:pathLst>
                <a:path w="1098" h="2203">
                  <a:moveTo>
                    <a:pt x="1098" y="0"/>
                  </a:moveTo>
                  <a:lnTo>
                    <a:pt x="1098" y="2203"/>
                  </a:lnTo>
                  <a:lnTo>
                    <a:pt x="1023" y="2200"/>
                  </a:lnTo>
                  <a:lnTo>
                    <a:pt x="949" y="2192"/>
                  </a:lnTo>
                  <a:lnTo>
                    <a:pt x="877" y="2180"/>
                  </a:lnTo>
                  <a:lnTo>
                    <a:pt x="806" y="2163"/>
                  </a:lnTo>
                  <a:lnTo>
                    <a:pt x="737" y="2141"/>
                  </a:lnTo>
                  <a:lnTo>
                    <a:pt x="670" y="2115"/>
                  </a:lnTo>
                  <a:lnTo>
                    <a:pt x="606" y="2085"/>
                  </a:lnTo>
                  <a:lnTo>
                    <a:pt x="544" y="2052"/>
                  </a:lnTo>
                  <a:lnTo>
                    <a:pt x="484" y="2013"/>
                  </a:lnTo>
                  <a:lnTo>
                    <a:pt x="427" y="1972"/>
                  </a:lnTo>
                  <a:lnTo>
                    <a:pt x="373" y="1928"/>
                  </a:lnTo>
                  <a:lnTo>
                    <a:pt x="321" y="1879"/>
                  </a:lnTo>
                  <a:lnTo>
                    <a:pt x="273" y="1828"/>
                  </a:lnTo>
                  <a:lnTo>
                    <a:pt x="229" y="1773"/>
                  </a:lnTo>
                  <a:lnTo>
                    <a:pt x="188" y="1716"/>
                  </a:lnTo>
                  <a:lnTo>
                    <a:pt x="149" y="1656"/>
                  </a:lnTo>
                  <a:lnTo>
                    <a:pt x="116" y="1594"/>
                  </a:lnTo>
                  <a:lnTo>
                    <a:pt x="86" y="1529"/>
                  </a:lnTo>
                  <a:lnTo>
                    <a:pt x="60" y="1462"/>
                  </a:lnTo>
                  <a:lnTo>
                    <a:pt x="39" y="1394"/>
                  </a:lnTo>
                  <a:lnTo>
                    <a:pt x="22" y="1323"/>
                  </a:lnTo>
                  <a:lnTo>
                    <a:pt x="10" y="1251"/>
                  </a:lnTo>
                  <a:lnTo>
                    <a:pt x="2" y="1177"/>
                  </a:lnTo>
                  <a:lnTo>
                    <a:pt x="0" y="1102"/>
                  </a:lnTo>
                  <a:lnTo>
                    <a:pt x="2" y="1026"/>
                  </a:lnTo>
                  <a:lnTo>
                    <a:pt x="10" y="952"/>
                  </a:lnTo>
                  <a:lnTo>
                    <a:pt x="22" y="880"/>
                  </a:lnTo>
                  <a:lnTo>
                    <a:pt x="39" y="809"/>
                  </a:lnTo>
                  <a:lnTo>
                    <a:pt x="60" y="741"/>
                  </a:lnTo>
                  <a:lnTo>
                    <a:pt x="86" y="674"/>
                  </a:lnTo>
                  <a:lnTo>
                    <a:pt x="116" y="609"/>
                  </a:lnTo>
                  <a:lnTo>
                    <a:pt x="149" y="547"/>
                  </a:lnTo>
                  <a:lnTo>
                    <a:pt x="188" y="487"/>
                  </a:lnTo>
                  <a:lnTo>
                    <a:pt x="229" y="430"/>
                  </a:lnTo>
                  <a:lnTo>
                    <a:pt x="273" y="375"/>
                  </a:lnTo>
                  <a:lnTo>
                    <a:pt x="321" y="324"/>
                  </a:lnTo>
                  <a:lnTo>
                    <a:pt x="373" y="275"/>
                  </a:lnTo>
                  <a:lnTo>
                    <a:pt x="427" y="231"/>
                  </a:lnTo>
                  <a:lnTo>
                    <a:pt x="484" y="190"/>
                  </a:lnTo>
                  <a:lnTo>
                    <a:pt x="544" y="151"/>
                  </a:lnTo>
                  <a:lnTo>
                    <a:pt x="606" y="118"/>
                  </a:lnTo>
                  <a:lnTo>
                    <a:pt x="670" y="88"/>
                  </a:lnTo>
                  <a:lnTo>
                    <a:pt x="737" y="62"/>
                  </a:lnTo>
                  <a:lnTo>
                    <a:pt x="806" y="40"/>
                  </a:lnTo>
                  <a:lnTo>
                    <a:pt x="877" y="23"/>
                  </a:lnTo>
                  <a:lnTo>
                    <a:pt x="949" y="11"/>
                  </a:lnTo>
                  <a:lnTo>
                    <a:pt x="1023" y="3"/>
                  </a:lnTo>
                  <a:lnTo>
                    <a:pt x="1098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0"/>
            <p:cNvSpPr>
              <a:spLocks/>
            </p:cNvSpPr>
            <p:nvPr/>
          </p:nvSpPr>
          <p:spPr bwMode="auto">
            <a:xfrm>
              <a:off x="6008688" y="1668463"/>
              <a:ext cx="1754188" cy="34972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0" y="3"/>
                </a:cxn>
                <a:cxn ang="0">
                  <a:pos x="154" y="11"/>
                </a:cxn>
                <a:cxn ang="0">
                  <a:pos x="226" y="23"/>
                </a:cxn>
                <a:cxn ang="0">
                  <a:pos x="297" y="39"/>
                </a:cxn>
                <a:cxn ang="0">
                  <a:pos x="366" y="61"/>
                </a:cxn>
                <a:cxn ang="0">
                  <a:pos x="433" y="87"/>
                </a:cxn>
                <a:cxn ang="0">
                  <a:pos x="498" y="116"/>
                </a:cxn>
                <a:cxn ang="0">
                  <a:pos x="560" y="151"/>
                </a:cxn>
                <a:cxn ang="0">
                  <a:pos x="620" y="189"/>
                </a:cxn>
                <a:cxn ang="0">
                  <a:pos x="677" y="230"/>
                </a:cxn>
                <a:cxn ang="0">
                  <a:pos x="732" y="275"/>
                </a:cxn>
                <a:cxn ang="0">
                  <a:pos x="783" y="323"/>
                </a:cxn>
                <a:cxn ang="0">
                  <a:pos x="831" y="374"/>
                </a:cxn>
                <a:cxn ang="0">
                  <a:pos x="876" y="429"/>
                </a:cxn>
                <a:cxn ang="0">
                  <a:pos x="917" y="486"/>
                </a:cxn>
                <a:cxn ang="0">
                  <a:pos x="955" y="546"/>
                </a:cxn>
                <a:cxn ang="0">
                  <a:pos x="989" y="608"/>
                </a:cxn>
                <a:cxn ang="0">
                  <a:pos x="1019" y="673"/>
                </a:cxn>
                <a:cxn ang="0">
                  <a:pos x="1045" y="740"/>
                </a:cxn>
                <a:cxn ang="0">
                  <a:pos x="1066" y="809"/>
                </a:cxn>
                <a:cxn ang="0">
                  <a:pos x="1083" y="880"/>
                </a:cxn>
                <a:cxn ang="0">
                  <a:pos x="1095" y="952"/>
                </a:cxn>
                <a:cxn ang="0">
                  <a:pos x="1103" y="1026"/>
                </a:cxn>
                <a:cxn ang="0">
                  <a:pos x="1105" y="1102"/>
                </a:cxn>
                <a:cxn ang="0">
                  <a:pos x="1103" y="1177"/>
                </a:cxn>
                <a:cxn ang="0">
                  <a:pos x="1095" y="1251"/>
                </a:cxn>
                <a:cxn ang="0">
                  <a:pos x="1083" y="1323"/>
                </a:cxn>
                <a:cxn ang="0">
                  <a:pos x="1066" y="1394"/>
                </a:cxn>
                <a:cxn ang="0">
                  <a:pos x="1045" y="1463"/>
                </a:cxn>
                <a:cxn ang="0">
                  <a:pos x="1019" y="1530"/>
                </a:cxn>
                <a:cxn ang="0">
                  <a:pos x="989" y="1595"/>
                </a:cxn>
                <a:cxn ang="0">
                  <a:pos x="955" y="1657"/>
                </a:cxn>
                <a:cxn ang="0">
                  <a:pos x="917" y="1717"/>
                </a:cxn>
                <a:cxn ang="0">
                  <a:pos x="876" y="1774"/>
                </a:cxn>
                <a:cxn ang="0">
                  <a:pos x="831" y="1829"/>
                </a:cxn>
                <a:cxn ang="0">
                  <a:pos x="783" y="1880"/>
                </a:cxn>
                <a:cxn ang="0">
                  <a:pos x="732" y="1928"/>
                </a:cxn>
                <a:cxn ang="0">
                  <a:pos x="677" y="1973"/>
                </a:cxn>
                <a:cxn ang="0">
                  <a:pos x="620" y="2014"/>
                </a:cxn>
                <a:cxn ang="0">
                  <a:pos x="560" y="2052"/>
                </a:cxn>
                <a:cxn ang="0">
                  <a:pos x="498" y="2087"/>
                </a:cxn>
                <a:cxn ang="0">
                  <a:pos x="433" y="2116"/>
                </a:cxn>
                <a:cxn ang="0">
                  <a:pos x="366" y="2142"/>
                </a:cxn>
                <a:cxn ang="0">
                  <a:pos x="297" y="2164"/>
                </a:cxn>
                <a:cxn ang="0">
                  <a:pos x="226" y="2180"/>
                </a:cxn>
                <a:cxn ang="0">
                  <a:pos x="154" y="2192"/>
                </a:cxn>
                <a:cxn ang="0">
                  <a:pos x="80" y="2200"/>
                </a:cxn>
                <a:cxn ang="0">
                  <a:pos x="4" y="2203"/>
                </a:cxn>
                <a:cxn ang="0">
                  <a:pos x="0" y="2203"/>
                </a:cxn>
                <a:cxn ang="0">
                  <a:pos x="0" y="0"/>
                </a:cxn>
              </a:cxnLst>
              <a:rect l="0" t="0" r="r" b="b"/>
              <a:pathLst>
                <a:path w="1105" h="2203">
                  <a:moveTo>
                    <a:pt x="0" y="0"/>
                  </a:moveTo>
                  <a:lnTo>
                    <a:pt x="4" y="0"/>
                  </a:lnTo>
                  <a:lnTo>
                    <a:pt x="80" y="3"/>
                  </a:lnTo>
                  <a:lnTo>
                    <a:pt x="154" y="11"/>
                  </a:lnTo>
                  <a:lnTo>
                    <a:pt x="226" y="23"/>
                  </a:lnTo>
                  <a:lnTo>
                    <a:pt x="297" y="39"/>
                  </a:lnTo>
                  <a:lnTo>
                    <a:pt x="366" y="61"/>
                  </a:lnTo>
                  <a:lnTo>
                    <a:pt x="433" y="87"/>
                  </a:lnTo>
                  <a:lnTo>
                    <a:pt x="498" y="116"/>
                  </a:lnTo>
                  <a:lnTo>
                    <a:pt x="560" y="151"/>
                  </a:lnTo>
                  <a:lnTo>
                    <a:pt x="620" y="189"/>
                  </a:lnTo>
                  <a:lnTo>
                    <a:pt x="677" y="230"/>
                  </a:lnTo>
                  <a:lnTo>
                    <a:pt x="732" y="275"/>
                  </a:lnTo>
                  <a:lnTo>
                    <a:pt x="783" y="323"/>
                  </a:lnTo>
                  <a:lnTo>
                    <a:pt x="831" y="374"/>
                  </a:lnTo>
                  <a:lnTo>
                    <a:pt x="876" y="429"/>
                  </a:lnTo>
                  <a:lnTo>
                    <a:pt x="917" y="486"/>
                  </a:lnTo>
                  <a:lnTo>
                    <a:pt x="955" y="546"/>
                  </a:lnTo>
                  <a:lnTo>
                    <a:pt x="989" y="608"/>
                  </a:lnTo>
                  <a:lnTo>
                    <a:pt x="1019" y="673"/>
                  </a:lnTo>
                  <a:lnTo>
                    <a:pt x="1045" y="740"/>
                  </a:lnTo>
                  <a:lnTo>
                    <a:pt x="1066" y="809"/>
                  </a:lnTo>
                  <a:lnTo>
                    <a:pt x="1083" y="880"/>
                  </a:lnTo>
                  <a:lnTo>
                    <a:pt x="1095" y="952"/>
                  </a:lnTo>
                  <a:lnTo>
                    <a:pt x="1103" y="1026"/>
                  </a:lnTo>
                  <a:lnTo>
                    <a:pt x="1105" y="1102"/>
                  </a:lnTo>
                  <a:lnTo>
                    <a:pt x="1103" y="1177"/>
                  </a:lnTo>
                  <a:lnTo>
                    <a:pt x="1095" y="1251"/>
                  </a:lnTo>
                  <a:lnTo>
                    <a:pt x="1083" y="1323"/>
                  </a:lnTo>
                  <a:lnTo>
                    <a:pt x="1066" y="1394"/>
                  </a:lnTo>
                  <a:lnTo>
                    <a:pt x="1045" y="1463"/>
                  </a:lnTo>
                  <a:lnTo>
                    <a:pt x="1019" y="1530"/>
                  </a:lnTo>
                  <a:lnTo>
                    <a:pt x="989" y="1595"/>
                  </a:lnTo>
                  <a:lnTo>
                    <a:pt x="955" y="1657"/>
                  </a:lnTo>
                  <a:lnTo>
                    <a:pt x="917" y="1717"/>
                  </a:lnTo>
                  <a:lnTo>
                    <a:pt x="876" y="1774"/>
                  </a:lnTo>
                  <a:lnTo>
                    <a:pt x="831" y="1829"/>
                  </a:lnTo>
                  <a:lnTo>
                    <a:pt x="783" y="1880"/>
                  </a:lnTo>
                  <a:lnTo>
                    <a:pt x="732" y="1928"/>
                  </a:lnTo>
                  <a:lnTo>
                    <a:pt x="677" y="1973"/>
                  </a:lnTo>
                  <a:lnTo>
                    <a:pt x="620" y="2014"/>
                  </a:lnTo>
                  <a:lnTo>
                    <a:pt x="560" y="2052"/>
                  </a:lnTo>
                  <a:lnTo>
                    <a:pt x="498" y="2087"/>
                  </a:lnTo>
                  <a:lnTo>
                    <a:pt x="433" y="2116"/>
                  </a:lnTo>
                  <a:lnTo>
                    <a:pt x="366" y="2142"/>
                  </a:lnTo>
                  <a:lnTo>
                    <a:pt x="297" y="2164"/>
                  </a:lnTo>
                  <a:lnTo>
                    <a:pt x="226" y="2180"/>
                  </a:lnTo>
                  <a:lnTo>
                    <a:pt x="154" y="2192"/>
                  </a:lnTo>
                  <a:lnTo>
                    <a:pt x="80" y="2200"/>
                  </a:lnTo>
                  <a:lnTo>
                    <a:pt x="4" y="2203"/>
                  </a:lnTo>
                  <a:lnTo>
                    <a:pt x="0" y="22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1"/>
            <p:cNvSpPr>
              <a:spLocks noEditPoints="1"/>
            </p:cNvSpPr>
            <p:nvPr/>
          </p:nvSpPr>
          <p:spPr bwMode="auto">
            <a:xfrm>
              <a:off x="5299076" y="2197100"/>
              <a:ext cx="1522413" cy="2397125"/>
            </a:xfrm>
            <a:custGeom>
              <a:avLst/>
              <a:gdLst/>
              <a:ahLst/>
              <a:cxnLst>
                <a:cxn ang="0">
                  <a:pos x="581" y="1159"/>
                </a:cxn>
                <a:cxn ang="0">
                  <a:pos x="653" y="1124"/>
                </a:cxn>
                <a:cxn ang="0">
                  <a:pos x="702" y="1066"/>
                </a:cxn>
                <a:cxn ang="0">
                  <a:pos x="718" y="996"/>
                </a:cxn>
                <a:cxn ang="0">
                  <a:pos x="705" y="934"/>
                </a:cxn>
                <a:cxn ang="0">
                  <a:pos x="663" y="883"/>
                </a:cxn>
                <a:cxn ang="0">
                  <a:pos x="586" y="846"/>
                </a:cxn>
                <a:cxn ang="0">
                  <a:pos x="383" y="277"/>
                </a:cxn>
                <a:cxn ang="0">
                  <a:pos x="318" y="325"/>
                </a:cxn>
                <a:cxn ang="0">
                  <a:pos x="286" y="390"/>
                </a:cxn>
                <a:cxn ang="0">
                  <a:pos x="292" y="457"/>
                </a:cxn>
                <a:cxn ang="0">
                  <a:pos x="333" y="516"/>
                </a:cxn>
                <a:cxn ang="0">
                  <a:pos x="410" y="559"/>
                </a:cxn>
                <a:cxn ang="0">
                  <a:pos x="553" y="0"/>
                </a:cxn>
                <a:cxn ang="0">
                  <a:pos x="637" y="98"/>
                </a:cxn>
                <a:cxn ang="0">
                  <a:pos x="743" y="136"/>
                </a:cxn>
                <a:cxn ang="0">
                  <a:pos x="826" y="197"/>
                </a:cxn>
                <a:cxn ang="0">
                  <a:pos x="884" y="277"/>
                </a:cxn>
                <a:cxn ang="0">
                  <a:pos x="919" y="377"/>
                </a:cxn>
                <a:cxn ang="0">
                  <a:pos x="651" y="353"/>
                </a:cxn>
                <a:cxn ang="0">
                  <a:pos x="601" y="295"/>
                </a:cxn>
                <a:cxn ang="0">
                  <a:pos x="553" y="600"/>
                </a:cxn>
                <a:cxn ang="0">
                  <a:pos x="708" y="645"/>
                </a:cxn>
                <a:cxn ang="0">
                  <a:pos x="822" y="700"/>
                </a:cxn>
                <a:cxn ang="0">
                  <a:pos x="896" y="768"/>
                </a:cxn>
                <a:cxn ang="0">
                  <a:pos x="943" y="858"/>
                </a:cxn>
                <a:cxn ang="0">
                  <a:pos x="959" y="966"/>
                </a:cxn>
                <a:cxn ang="0">
                  <a:pos x="944" y="1074"/>
                </a:cxn>
                <a:cxn ang="0">
                  <a:pos x="898" y="1168"/>
                </a:cxn>
                <a:cxn ang="0">
                  <a:pos x="823" y="1248"/>
                </a:cxn>
                <a:cxn ang="0">
                  <a:pos x="723" y="1308"/>
                </a:cxn>
                <a:cxn ang="0">
                  <a:pos x="599" y="1344"/>
                </a:cxn>
                <a:cxn ang="0">
                  <a:pos x="410" y="1510"/>
                </a:cxn>
                <a:cxn ang="0">
                  <a:pos x="319" y="1340"/>
                </a:cxn>
                <a:cxn ang="0">
                  <a:pos x="201" y="1293"/>
                </a:cxn>
                <a:cxn ang="0">
                  <a:pos x="107" y="1219"/>
                </a:cxn>
                <a:cxn ang="0">
                  <a:pos x="39" y="1118"/>
                </a:cxn>
                <a:cxn ang="0">
                  <a:pos x="0" y="990"/>
                </a:cxn>
                <a:cxn ang="0">
                  <a:pos x="278" y="1029"/>
                </a:cxn>
                <a:cxn ang="0">
                  <a:pos x="337" y="1106"/>
                </a:cxn>
                <a:cxn ang="0">
                  <a:pos x="410" y="1153"/>
                </a:cxn>
                <a:cxn ang="0">
                  <a:pos x="309" y="769"/>
                </a:cxn>
                <a:cxn ang="0">
                  <a:pos x="189" y="707"/>
                </a:cxn>
                <a:cxn ang="0">
                  <a:pos x="105" y="629"/>
                </a:cxn>
                <a:cxn ang="0">
                  <a:pos x="56" y="534"/>
                </a:cxn>
                <a:cxn ang="0">
                  <a:pos x="39" y="424"/>
                </a:cxn>
                <a:cxn ang="0">
                  <a:pos x="57" y="314"/>
                </a:cxn>
                <a:cxn ang="0">
                  <a:pos x="114" y="220"/>
                </a:cxn>
                <a:cxn ang="0">
                  <a:pos x="205" y="144"/>
                </a:cxn>
                <a:cxn ang="0">
                  <a:pos x="320" y="98"/>
                </a:cxn>
                <a:cxn ang="0">
                  <a:pos x="410" y="0"/>
                </a:cxn>
              </a:cxnLst>
              <a:rect l="0" t="0" r="r" b="b"/>
              <a:pathLst>
                <a:path w="959" h="1510">
                  <a:moveTo>
                    <a:pt x="553" y="836"/>
                  </a:moveTo>
                  <a:lnTo>
                    <a:pt x="553" y="1165"/>
                  </a:lnTo>
                  <a:lnTo>
                    <a:pt x="581" y="1159"/>
                  </a:lnTo>
                  <a:lnTo>
                    <a:pt x="608" y="1150"/>
                  </a:lnTo>
                  <a:lnTo>
                    <a:pt x="632" y="1138"/>
                  </a:lnTo>
                  <a:lnTo>
                    <a:pt x="653" y="1124"/>
                  </a:lnTo>
                  <a:lnTo>
                    <a:pt x="672" y="1106"/>
                  </a:lnTo>
                  <a:lnTo>
                    <a:pt x="689" y="1087"/>
                  </a:lnTo>
                  <a:lnTo>
                    <a:pt x="702" y="1066"/>
                  </a:lnTo>
                  <a:lnTo>
                    <a:pt x="711" y="1044"/>
                  </a:lnTo>
                  <a:lnTo>
                    <a:pt x="717" y="1021"/>
                  </a:lnTo>
                  <a:lnTo>
                    <a:pt x="718" y="996"/>
                  </a:lnTo>
                  <a:lnTo>
                    <a:pt x="717" y="974"/>
                  </a:lnTo>
                  <a:lnTo>
                    <a:pt x="712" y="954"/>
                  </a:lnTo>
                  <a:lnTo>
                    <a:pt x="705" y="934"/>
                  </a:lnTo>
                  <a:lnTo>
                    <a:pt x="694" y="916"/>
                  </a:lnTo>
                  <a:lnTo>
                    <a:pt x="680" y="899"/>
                  </a:lnTo>
                  <a:lnTo>
                    <a:pt x="663" y="883"/>
                  </a:lnTo>
                  <a:lnTo>
                    <a:pt x="641" y="869"/>
                  </a:lnTo>
                  <a:lnTo>
                    <a:pt x="616" y="857"/>
                  </a:lnTo>
                  <a:lnTo>
                    <a:pt x="586" y="846"/>
                  </a:lnTo>
                  <a:lnTo>
                    <a:pt x="553" y="836"/>
                  </a:lnTo>
                  <a:close/>
                  <a:moveTo>
                    <a:pt x="410" y="268"/>
                  </a:moveTo>
                  <a:lnTo>
                    <a:pt x="383" y="277"/>
                  </a:lnTo>
                  <a:lnTo>
                    <a:pt x="359" y="290"/>
                  </a:lnTo>
                  <a:lnTo>
                    <a:pt x="337" y="306"/>
                  </a:lnTo>
                  <a:lnTo>
                    <a:pt x="318" y="325"/>
                  </a:lnTo>
                  <a:lnTo>
                    <a:pt x="303" y="346"/>
                  </a:lnTo>
                  <a:lnTo>
                    <a:pt x="293" y="367"/>
                  </a:lnTo>
                  <a:lnTo>
                    <a:pt x="286" y="390"/>
                  </a:lnTo>
                  <a:lnTo>
                    <a:pt x="284" y="414"/>
                  </a:lnTo>
                  <a:lnTo>
                    <a:pt x="286" y="436"/>
                  </a:lnTo>
                  <a:lnTo>
                    <a:pt x="292" y="457"/>
                  </a:lnTo>
                  <a:lnTo>
                    <a:pt x="302" y="478"/>
                  </a:lnTo>
                  <a:lnTo>
                    <a:pt x="316" y="497"/>
                  </a:lnTo>
                  <a:lnTo>
                    <a:pt x="333" y="516"/>
                  </a:lnTo>
                  <a:lnTo>
                    <a:pt x="355" y="532"/>
                  </a:lnTo>
                  <a:lnTo>
                    <a:pt x="381" y="547"/>
                  </a:lnTo>
                  <a:lnTo>
                    <a:pt x="410" y="559"/>
                  </a:lnTo>
                  <a:lnTo>
                    <a:pt x="410" y="268"/>
                  </a:lnTo>
                  <a:close/>
                  <a:moveTo>
                    <a:pt x="410" y="0"/>
                  </a:moveTo>
                  <a:lnTo>
                    <a:pt x="553" y="0"/>
                  </a:lnTo>
                  <a:lnTo>
                    <a:pt x="553" y="83"/>
                  </a:lnTo>
                  <a:lnTo>
                    <a:pt x="596" y="89"/>
                  </a:lnTo>
                  <a:lnTo>
                    <a:pt x="637" y="98"/>
                  </a:lnTo>
                  <a:lnTo>
                    <a:pt x="675" y="108"/>
                  </a:lnTo>
                  <a:lnTo>
                    <a:pt x="710" y="121"/>
                  </a:lnTo>
                  <a:lnTo>
                    <a:pt x="743" y="136"/>
                  </a:lnTo>
                  <a:lnTo>
                    <a:pt x="773" y="155"/>
                  </a:lnTo>
                  <a:lnTo>
                    <a:pt x="801" y="175"/>
                  </a:lnTo>
                  <a:lnTo>
                    <a:pt x="826" y="197"/>
                  </a:lnTo>
                  <a:lnTo>
                    <a:pt x="848" y="222"/>
                  </a:lnTo>
                  <a:lnTo>
                    <a:pt x="868" y="249"/>
                  </a:lnTo>
                  <a:lnTo>
                    <a:pt x="884" y="277"/>
                  </a:lnTo>
                  <a:lnTo>
                    <a:pt x="899" y="308"/>
                  </a:lnTo>
                  <a:lnTo>
                    <a:pt x="910" y="342"/>
                  </a:lnTo>
                  <a:lnTo>
                    <a:pt x="919" y="377"/>
                  </a:lnTo>
                  <a:lnTo>
                    <a:pt x="671" y="404"/>
                  </a:lnTo>
                  <a:lnTo>
                    <a:pt x="663" y="377"/>
                  </a:lnTo>
                  <a:lnTo>
                    <a:pt x="651" y="353"/>
                  </a:lnTo>
                  <a:lnTo>
                    <a:pt x="638" y="331"/>
                  </a:lnTo>
                  <a:lnTo>
                    <a:pt x="621" y="312"/>
                  </a:lnTo>
                  <a:lnTo>
                    <a:pt x="601" y="295"/>
                  </a:lnTo>
                  <a:lnTo>
                    <a:pt x="578" y="281"/>
                  </a:lnTo>
                  <a:lnTo>
                    <a:pt x="553" y="270"/>
                  </a:lnTo>
                  <a:lnTo>
                    <a:pt x="553" y="600"/>
                  </a:lnTo>
                  <a:lnTo>
                    <a:pt x="609" y="614"/>
                  </a:lnTo>
                  <a:lnTo>
                    <a:pt x="661" y="629"/>
                  </a:lnTo>
                  <a:lnTo>
                    <a:pt x="708" y="645"/>
                  </a:lnTo>
                  <a:lnTo>
                    <a:pt x="751" y="662"/>
                  </a:lnTo>
                  <a:lnTo>
                    <a:pt x="788" y="680"/>
                  </a:lnTo>
                  <a:lnTo>
                    <a:pt x="822" y="700"/>
                  </a:lnTo>
                  <a:lnTo>
                    <a:pt x="849" y="720"/>
                  </a:lnTo>
                  <a:lnTo>
                    <a:pt x="873" y="742"/>
                  </a:lnTo>
                  <a:lnTo>
                    <a:pt x="896" y="768"/>
                  </a:lnTo>
                  <a:lnTo>
                    <a:pt x="915" y="796"/>
                  </a:lnTo>
                  <a:lnTo>
                    <a:pt x="931" y="826"/>
                  </a:lnTo>
                  <a:lnTo>
                    <a:pt x="943" y="858"/>
                  </a:lnTo>
                  <a:lnTo>
                    <a:pt x="952" y="892"/>
                  </a:lnTo>
                  <a:lnTo>
                    <a:pt x="958" y="928"/>
                  </a:lnTo>
                  <a:lnTo>
                    <a:pt x="959" y="966"/>
                  </a:lnTo>
                  <a:lnTo>
                    <a:pt x="958" y="1003"/>
                  </a:lnTo>
                  <a:lnTo>
                    <a:pt x="952" y="1039"/>
                  </a:lnTo>
                  <a:lnTo>
                    <a:pt x="944" y="1074"/>
                  </a:lnTo>
                  <a:lnTo>
                    <a:pt x="932" y="1106"/>
                  </a:lnTo>
                  <a:lnTo>
                    <a:pt x="917" y="1138"/>
                  </a:lnTo>
                  <a:lnTo>
                    <a:pt x="898" y="1168"/>
                  </a:lnTo>
                  <a:lnTo>
                    <a:pt x="876" y="1196"/>
                  </a:lnTo>
                  <a:lnTo>
                    <a:pt x="851" y="1223"/>
                  </a:lnTo>
                  <a:lnTo>
                    <a:pt x="823" y="1248"/>
                  </a:lnTo>
                  <a:lnTo>
                    <a:pt x="792" y="1271"/>
                  </a:lnTo>
                  <a:lnTo>
                    <a:pt x="759" y="1291"/>
                  </a:lnTo>
                  <a:lnTo>
                    <a:pt x="723" y="1308"/>
                  </a:lnTo>
                  <a:lnTo>
                    <a:pt x="684" y="1323"/>
                  </a:lnTo>
                  <a:lnTo>
                    <a:pt x="643" y="1335"/>
                  </a:lnTo>
                  <a:lnTo>
                    <a:pt x="599" y="1344"/>
                  </a:lnTo>
                  <a:lnTo>
                    <a:pt x="553" y="1351"/>
                  </a:lnTo>
                  <a:lnTo>
                    <a:pt x="553" y="1510"/>
                  </a:lnTo>
                  <a:lnTo>
                    <a:pt x="410" y="1510"/>
                  </a:lnTo>
                  <a:lnTo>
                    <a:pt x="410" y="1356"/>
                  </a:lnTo>
                  <a:lnTo>
                    <a:pt x="364" y="1350"/>
                  </a:lnTo>
                  <a:lnTo>
                    <a:pt x="319" y="1340"/>
                  </a:lnTo>
                  <a:lnTo>
                    <a:pt x="277" y="1327"/>
                  </a:lnTo>
                  <a:lnTo>
                    <a:pt x="237" y="1312"/>
                  </a:lnTo>
                  <a:lnTo>
                    <a:pt x="201" y="1293"/>
                  </a:lnTo>
                  <a:lnTo>
                    <a:pt x="166" y="1272"/>
                  </a:lnTo>
                  <a:lnTo>
                    <a:pt x="135" y="1247"/>
                  </a:lnTo>
                  <a:lnTo>
                    <a:pt x="107" y="1219"/>
                  </a:lnTo>
                  <a:lnTo>
                    <a:pt x="81" y="1188"/>
                  </a:lnTo>
                  <a:lnTo>
                    <a:pt x="58" y="1155"/>
                  </a:lnTo>
                  <a:lnTo>
                    <a:pt x="39" y="1118"/>
                  </a:lnTo>
                  <a:lnTo>
                    <a:pt x="23" y="1079"/>
                  </a:lnTo>
                  <a:lnTo>
                    <a:pt x="10" y="1036"/>
                  </a:lnTo>
                  <a:lnTo>
                    <a:pt x="0" y="990"/>
                  </a:lnTo>
                  <a:lnTo>
                    <a:pt x="256" y="966"/>
                  </a:lnTo>
                  <a:lnTo>
                    <a:pt x="265" y="998"/>
                  </a:lnTo>
                  <a:lnTo>
                    <a:pt x="278" y="1029"/>
                  </a:lnTo>
                  <a:lnTo>
                    <a:pt x="294" y="1057"/>
                  </a:lnTo>
                  <a:lnTo>
                    <a:pt x="314" y="1083"/>
                  </a:lnTo>
                  <a:lnTo>
                    <a:pt x="337" y="1106"/>
                  </a:lnTo>
                  <a:lnTo>
                    <a:pt x="360" y="1125"/>
                  </a:lnTo>
                  <a:lnTo>
                    <a:pt x="385" y="1141"/>
                  </a:lnTo>
                  <a:lnTo>
                    <a:pt x="410" y="1153"/>
                  </a:lnTo>
                  <a:lnTo>
                    <a:pt x="410" y="800"/>
                  </a:lnTo>
                  <a:lnTo>
                    <a:pt x="358" y="785"/>
                  </a:lnTo>
                  <a:lnTo>
                    <a:pt x="309" y="769"/>
                  </a:lnTo>
                  <a:lnTo>
                    <a:pt x="265" y="750"/>
                  </a:lnTo>
                  <a:lnTo>
                    <a:pt x="224" y="730"/>
                  </a:lnTo>
                  <a:lnTo>
                    <a:pt x="189" y="707"/>
                  </a:lnTo>
                  <a:lnTo>
                    <a:pt x="157" y="683"/>
                  </a:lnTo>
                  <a:lnTo>
                    <a:pt x="129" y="656"/>
                  </a:lnTo>
                  <a:lnTo>
                    <a:pt x="105" y="629"/>
                  </a:lnTo>
                  <a:lnTo>
                    <a:pt x="85" y="598"/>
                  </a:lnTo>
                  <a:lnTo>
                    <a:pt x="69" y="567"/>
                  </a:lnTo>
                  <a:lnTo>
                    <a:pt x="56" y="534"/>
                  </a:lnTo>
                  <a:lnTo>
                    <a:pt x="46" y="499"/>
                  </a:lnTo>
                  <a:lnTo>
                    <a:pt x="41" y="462"/>
                  </a:lnTo>
                  <a:lnTo>
                    <a:pt x="39" y="424"/>
                  </a:lnTo>
                  <a:lnTo>
                    <a:pt x="41" y="385"/>
                  </a:lnTo>
                  <a:lnTo>
                    <a:pt x="47" y="349"/>
                  </a:lnTo>
                  <a:lnTo>
                    <a:pt x="57" y="314"/>
                  </a:lnTo>
                  <a:lnTo>
                    <a:pt x="73" y="280"/>
                  </a:lnTo>
                  <a:lnTo>
                    <a:pt x="91" y="249"/>
                  </a:lnTo>
                  <a:lnTo>
                    <a:pt x="114" y="220"/>
                  </a:lnTo>
                  <a:lnTo>
                    <a:pt x="141" y="192"/>
                  </a:lnTo>
                  <a:lnTo>
                    <a:pt x="171" y="167"/>
                  </a:lnTo>
                  <a:lnTo>
                    <a:pt x="205" y="144"/>
                  </a:lnTo>
                  <a:lnTo>
                    <a:pt x="240" y="126"/>
                  </a:lnTo>
                  <a:lnTo>
                    <a:pt x="278" y="110"/>
                  </a:lnTo>
                  <a:lnTo>
                    <a:pt x="320" y="98"/>
                  </a:lnTo>
                  <a:lnTo>
                    <a:pt x="364" y="89"/>
                  </a:lnTo>
                  <a:lnTo>
                    <a:pt x="410" y="83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4231269" y="3887115"/>
            <a:ext cx="1371600" cy="1334345"/>
            <a:chOff x="4011613" y="1414463"/>
            <a:chExt cx="4149725" cy="4037013"/>
          </a:xfrm>
        </p:grpSpPr>
        <p:sp>
          <p:nvSpPr>
            <p:cNvPr id="91" name="Freeform 6"/>
            <p:cNvSpPr>
              <a:spLocks/>
            </p:cNvSpPr>
            <p:nvPr/>
          </p:nvSpPr>
          <p:spPr bwMode="auto">
            <a:xfrm>
              <a:off x="4154488" y="1446213"/>
              <a:ext cx="4006850" cy="4005263"/>
            </a:xfrm>
            <a:custGeom>
              <a:avLst/>
              <a:gdLst/>
              <a:ahLst/>
              <a:cxnLst>
                <a:cxn ang="0">
                  <a:pos x="1341" y="3"/>
                </a:cxn>
                <a:cxn ang="0">
                  <a:pos x="1497" y="23"/>
                </a:cxn>
                <a:cxn ang="0">
                  <a:pos x="1646" y="60"/>
                </a:cxn>
                <a:cxn ang="0">
                  <a:pos x="1788" y="115"/>
                </a:cxn>
                <a:cxn ang="0">
                  <a:pos x="1920" y="186"/>
                </a:cxn>
                <a:cxn ang="0">
                  <a:pos x="2043" y="271"/>
                </a:cxn>
                <a:cxn ang="0">
                  <a:pos x="2154" y="369"/>
                </a:cxn>
                <a:cxn ang="0">
                  <a:pos x="2254" y="481"/>
                </a:cxn>
                <a:cxn ang="0">
                  <a:pos x="2339" y="604"/>
                </a:cxn>
                <a:cxn ang="0">
                  <a:pos x="2409" y="736"/>
                </a:cxn>
                <a:cxn ang="0">
                  <a:pos x="2464" y="877"/>
                </a:cxn>
                <a:cxn ang="0">
                  <a:pos x="2502" y="1026"/>
                </a:cxn>
                <a:cxn ang="0">
                  <a:pos x="2521" y="1182"/>
                </a:cxn>
                <a:cxn ang="0">
                  <a:pos x="2521" y="1341"/>
                </a:cxn>
                <a:cxn ang="0">
                  <a:pos x="2502" y="1497"/>
                </a:cxn>
                <a:cxn ang="0">
                  <a:pos x="2464" y="1645"/>
                </a:cxn>
                <a:cxn ang="0">
                  <a:pos x="2409" y="1787"/>
                </a:cxn>
                <a:cxn ang="0">
                  <a:pos x="2339" y="1920"/>
                </a:cxn>
                <a:cxn ang="0">
                  <a:pos x="2254" y="2042"/>
                </a:cxn>
                <a:cxn ang="0">
                  <a:pos x="2154" y="2153"/>
                </a:cxn>
                <a:cxn ang="0">
                  <a:pos x="2043" y="2253"/>
                </a:cxn>
                <a:cxn ang="0">
                  <a:pos x="1920" y="2338"/>
                </a:cxn>
                <a:cxn ang="0">
                  <a:pos x="1788" y="2409"/>
                </a:cxn>
                <a:cxn ang="0">
                  <a:pos x="1646" y="2464"/>
                </a:cxn>
                <a:cxn ang="0">
                  <a:pos x="1497" y="2501"/>
                </a:cxn>
                <a:cxn ang="0">
                  <a:pos x="1341" y="2521"/>
                </a:cxn>
                <a:cxn ang="0">
                  <a:pos x="1182" y="2521"/>
                </a:cxn>
                <a:cxn ang="0">
                  <a:pos x="1027" y="2501"/>
                </a:cxn>
                <a:cxn ang="0">
                  <a:pos x="878" y="2464"/>
                </a:cxn>
                <a:cxn ang="0">
                  <a:pos x="736" y="2409"/>
                </a:cxn>
                <a:cxn ang="0">
                  <a:pos x="603" y="2338"/>
                </a:cxn>
                <a:cxn ang="0">
                  <a:pos x="481" y="2253"/>
                </a:cxn>
                <a:cxn ang="0">
                  <a:pos x="370" y="2153"/>
                </a:cxn>
                <a:cxn ang="0">
                  <a:pos x="270" y="2042"/>
                </a:cxn>
                <a:cxn ang="0">
                  <a:pos x="185" y="1920"/>
                </a:cxn>
                <a:cxn ang="0">
                  <a:pos x="114" y="1787"/>
                </a:cxn>
                <a:cxn ang="0">
                  <a:pos x="60" y="1645"/>
                </a:cxn>
                <a:cxn ang="0">
                  <a:pos x="22" y="1497"/>
                </a:cxn>
                <a:cxn ang="0">
                  <a:pos x="2" y="1341"/>
                </a:cxn>
                <a:cxn ang="0">
                  <a:pos x="2" y="1182"/>
                </a:cxn>
                <a:cxn ang="0">
                  <a:pos x="22" y="1026"/>
                </a:cxn>
                <a:cxn ang="0">
                  <a:pos x="60" y="877"/>
                </a:cxn>
                <a:cxn ang="0">
                  <a:pos x="114" y="736"/>
                </a:cxn>
                <a:cxn ang="0">
                  <a:pos x="185" y="604"/>
                </a:cxn>
                <a:cxn ang="0">
                  <a:pos x="270" y="481"/>
                </a:cxn>
                <a:cxn ang="0">
                  <a:pos x="370" y="369"/>
                </a:cxn>
                <a:cxn ang="0">
                  <a:pos x="481" y="271"/>
                </a:cxn>
                <a:cxn ang="0">
                  <a:pos x="603" y="186"/>
                </a:cxn>
                <a:cxn ang="0">
                  <a:pos x="736" y="115"/>
                </a:cxn>
                <a:cxn ang="0">
                  <a:pos x="878" y="60"/>
                </a:cxn>
                <a:cxn ang="0">
                  <a:pos x="1027" y="23"/>
                </a:cxn>
                <a:cxn ang="0">
                  <a:pos x="1182" y="3"/>
                </a:cxn>
              </a:cxnLst>
              <a:rect l="0" t="0" r="r" b="b"/>
              <a:pathLst>
                <a:path w="2524" h="2523">
                  <a:moveTo>
                    <a:pt x="1262" y="0"/>
                  </a:moveTo>
                  <a:lnTo>
                    <a:pt x="1341" y="3"/>
                  </a:lnTo>
                  <a:lnTo>
                    <a:pt x="1420" y="10"/>
                  </a:lnTo>
                  <a:lnTo>
                    <a:pt x="1497" y="23"/>
                  </a:lnTo>
                  <a:lnTo>
                    <a:pt x="1573" y="39"/>
                  </a:lnTo>
                  <a:lnTo>
                    <a:pt x="1646" y="60"/>
                  </a:lnTo>
                  <a:lnTo>
                    <a:pt x="1718" y="86"/>
                  </a:lnTo>
                  <a:lnTo>
                    <a:pt x="1788" y="115"/>
                  </a:lnTo>
                  <a:lnTo>
                    <a:pt x="1855" y="148"/>
                  </a:lnTo>
                  <a:lnTo>
                    <a:pt x="1920" y="186"/>
                  </a:lnTo>
                  <a:lnTo>
                    <a:pt x="1982" y="226"/>
                  </a:lnTo>
                  <a:lnTo>
                    <a:pt x="2043" y="271"/>
                  </a:lnTo>
                  <a:lnTo>
                    <a:pt x="2100" y="318"/>
                  </a:lnTo>
                  <a:lnTo>
                    <a:pt x="2154" y="369"/>
                  </a:lnTo>
                  <a:lnTo>
                    <a:pt x="2205" y="424"/>
                  </a:lnTo>
                  <a:lnTo>
                    <a:pt x="2254" y="481"/>
                  </a:lnTo>
                  <a:lnTo>
                    <a:pt x="2298" y="541"/>
                  </a:lnTo>
                  <a:lnTo>
                    <a:pt x="2339" y="604"/>
                  </a:lnTo>
                  <a:lnTo>
                    <a:pt x="2376" y="668"/>
                  </a:lnTo>
                  <a:lnTo>
                    <a:pt x="2409" y="736"/>
                  </a:lnTo>
                  <a:lnTo>
                    <a:pt x="2439" y="806"/>
                  </a:lnTo>
                  <a:lnTo>
                    <a:pt x="2464" y="877"/>
                  </a:lnTo>
                  <a:lnTo>
                    <a:pt x="2486" y="951"/>
                  </a:lnTo>
                  <a:lnTo>
                    <a:pt x="2502" y="1026"/>
                  </a:lnTo>
                  <a:lnTo>
                    <a:pt x="2514" y="1103"/>
                  </a:lnTo>
                  <a:lnTo>
                    <a:pt x="2521" y="1182"/>
                  </a:lnTo>
                  <a:lnTo>
                    <a:pt x="2524" y="1261"/>
                  </a:lnTo>
                  <a:lnTo>
                    <a:pt x="2521" y="1341"/>
                  </a:lnTo>
                  <a:lnTo>
                    <a:pt x="2514" y="1420"/>
                  </a:lnTo>
                  <a:lnTo>
                    <a:pt x="2502" y="1497"/>
                  </a:lnTo>
                  <a:lnTo>
                    <a:pt x="2486" y="1572"/>
                  </a:lnTo>
                  <a:lnTo>
                    <a:pt x="2464" y="1645"/>
                  </a:lnTo>
                  <a:lnTo>
                    <a:pt x="2439" y="1717"/>
                  </a:lnTo>
                  <a:lnTo>
                    <a:pt x="2409" y="1787"/>
                  </a:lnTo>
                  <a:lnTo>
                    <a:pt x="2376" y="1855"/>
                  </a:lnTo>
                  <a:lnTo>
                    <a:pt x="2339" y="1920"/>
                  </a:lnTo>
                  <a:lnTo>
                    <a:pt x="2298" y="1982"/>
                  </a:lnTo>
                  <a:lnTo>
                    <a:pt x="2254" y="2042"/>
                  </a:lnTo>
                  <a:lnTo>
                    <a:pt x="2205" y="2099"/>
                  </a:lnTo>
                  <a:lnTo>
                    <a:pt x="2154" y="2153"/>
                  </a:lnTo>
                  <a:lnTo>
                    <a:pt x="2100" y="2204"/>
                  </a:lnTo>
                  <a:lnTo>
                    <a:pt x="2043" y="2253"/>
                  </a:lnTo>
                  <a:lnTo>
                    <a:pt x="1982" y="2297"/>
                  </a:lnTo>
                  <a:lnTo>
                    <a:pt x="1920" y="2338"/>
                  </a:lnTo>
                  <a:lnTo>
                    <a:pt x="1855" y="2375"/>
                  </a:lnTo>
                  <a:lnTo>
                    <a:pt x="1788" y="2409"/>
                  </a:lnTo>
                  <a:lnTo>
                    <a:pt x="1718" y="2438"/>
                  </a:lnTo>
                  <a:lnTo>
                    <a:pt x="1646" y="2464"/>
                  </a:lnTo>
                  <a:lnTo>
                    <a:pt x="1573" y="2485"/>
                  </a:lnTo>
                  <a:lnTo>
                    <a:pt x="1497" y="2501"/>
                  </a:lnTo>
                  <a:lnTo>
                    <a:pt x="1420" y="2514"/>
                  </a:lnTo>
                  <a:lnTo>
                    <a:pt x="1341" y="2521"/>
                  </a:lnTo>
                  <a:lnTo>
                    <a:pt x="1262" y="2523"/>
                  </a:lnTo>
                  <a:lnTo>
                    <a:pt x="1182" y="2521"/>
                  </a:lnTo>
                  <a:lnTo>
                    <a:pt x="1104" y="2514"/>
                  </a:lnTo>
                  <a:lnTo>
                    <a:pt x="1027" y="2501"/>
                  </a:lnTo>
                  <a:lnTo>
                    <a:pt x="951" y="2485"/>
                  </a:lnTo>
                  <a:lnTo>
                    <a:pt x="878" y="2464"/>
                  </a:lnTo>
                  <a:lnTo>
                    <a:pt x="806" y="2438"/>
                  </a:lnTo>
                  <a:lnTo>
                    <a:pt x="736" y="2409"/>
                  </a:lnTo>
                  <a:lnTo>
                    <a:pt x="669" y="2375"/>
                  </a:lnTo>
                  <a:lnTo>
                    <a:pt x="603" y="2338"/>
                  </a:lnTo>
                  <a:lnTo>
                    <a:pt x="541" y="2297"/>
                  </a:lnTo>
                  <a:lnTo>
                    <a:pt x="481" y="2253"/>
                  </a:lnTo>
                  <a:lnTo>
                    <a:pt x="424" y="2204"/>
                  </a:lnTo>
                  <a:lnTo>
                    <a:pt x="370" y="2153"/>
                  </a:lnTo>
                  <a:lnTo>
                    <a:pt x="319" y="2099"/>
                  </a:lnTo>
                  <a:lnTo>
                    <a:pt x="270" y="2042"/>
                  </a:lnTo>
                  <a:lnTo>
                    <a:pt x="226" y="1982"/>
                  </a:lnTo>
                  <a:lnTo>
                    <a:pt x="185" y="1920"/>
                  </a:lnTo>
                  <a:lnTo>
                    <a:pt x="148" y="1855"/>
                  </a:lnTo>
                  <a:lnTo>
                    <a:pt x="114" y="1787"/>
                  </a:lnTo>
                  <a:lnTo>
                    <a:pt x="85" y="1717"/>
                  </a:lnTo>
                  <a:lnTo>
                    <a:pt x="60" y="1645"/>
                  </a:lnTo>
                  <a:lnTo>
                    <a:pt x="38" y="1572"/>
                  </a:lnTo>
                  <a:lnTo>
                    <a:pt x="22" y="1497"/>
                  </a:lnTo>
                  <a:lnTo>
                    <a:pt x="9" y="1420"/>
                  </a:lnTo>
                  <a:lnTo>
                    <a:pt x="2" y="1341"/>
                  </a:lnTo>
                  <a:lnTo>
                    <a:pt x="0" y="1261"/>
                  </a:lnTo>
                  <a:lnTo>
                    <a:pt x="2" y="1182"/>
                  </a:lnTo>
                  <a:lnTo>
                    <a:pt x="9" y="1103"/>
                  </a:lnTo>
                  <a:lnTo>
                    <a:pt x="22" y="1026"/>
                  </a:lnTo>
                  <a:lnTo>
                    <a:pt x="38" y="951"/>
                  </a:lnTo>
                  <a:lnTo>
                    <a:pt x="60" y="877"/>
                  </a:lnTo>
                  <a:lnTo>
                    <a:pt x="85" y="806"/>
                  </a:lnTo>
                  <a:lnTo>
                    <a:pt x="114" y="736"/>
                  </a:lnTo>
                  <a:lnTo>
                    <a:pt x="148" y="668"/>
                  </a:lnTo>
                  <a:lnTo>
                    <a:pt x="185" y="604"/>
                  </a:lnTo>
                  <a:lnTo>
                    <a:pt x="226" y="541"/>
                  </a:lnTo>
                  <a:lnTo>
                    <a:pt x="270" y="481"/>
                  </a:lnTo>
                  <a:lnTo>
                    <a:pt x="319" y="424"/>
                  </a:lnTo>
                  <a:lnTo>
                    <a:pt x="370" y="369"/>
                  </a:lnTo>
                  <a:lnTo>
                    <a:pt x="424" y="318"/>
                  </a:lnTo>
                  <a:lnTo>
                    <a:pt x="481" y="271"/>
                  </a:lnTo>
                  <a:lnTo>
                    <a:pt x="541" y="226"/>
                  </a:lnTo>
                  <a:lnTo>
                    <a:pt x="603" y="186"/>
                  </a:lnTo>
                  <a:lnTo>
                    <a:pt x="669" y="148"/>
                  </a:lnTo>
                  <a:lnTo>
                    <a:pt x="736" y="115"/>
                  </a:lnTo>
                  <a:lnTo>
                    <a:pt x="806" y="86"/>
                  </a:lnTo>
                  <a:lnTo>
                    <a:pt x="878" y="60"/>
                  </a:lnTo>
                  <a:lnTo>
                    <a:pt x="951" y="39"/>
                  </a:lnTo>
                  <a:lnTo>
                    <a:pt x="1027" y="23"/>
                  </a:lnTo>
                  <a:lnTo>
                    <a:pt x="1104" y="10"/>
                  </a:lnTo>
                  <a:lnTo>
                    <a:pt x="1182" y="3"/>
                  </a:lnTo>
                  <a:lnTo>
                    <a:pt x="1262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"/>
            <p:cNvSpPr>
              <a:spLocks/>
            </p:cNvSpPr>
            <p:nvPr/>
          </p:nvSpPr>
          <p:spPr bwMode="auto">
            <a:xfrm>
              <a:off x="4011613" y="1416050"/>
              <a:ext cx="1997075" cy="4002088"/>
            </a:xfrm>
            <a:custGeom>
              <a:avLst/>
              <a:gdLst/>
              <a:ahLst/>
              <a:cxnLst>
                <a:cxn ang="0">
                  <a:pos x="1258" y="0"/>
                </a:cxn>
                <a:cxn ang="0">
                  <a:pos x="1258" y="2521"/>
                </a:cxn>
                <a:cxn ang="0">
                  <a:pos x="1179" y="2519"/>
                </a:cxn>
                <a:cxn ang="0">
                  <a:pos x="1101" y="2511"/>
                </a:cxn>
                <a:cxn ang="0">
                  <a:pos x="1023" y="2499"/>
                </a:cxn>
                <a:cxn ang="0">
                  <a:pos x="948" y="2483"/>
                </a:cxn>
                <a:cxn ang="0">
                  <a:pos x="875" y="2461"/>
                </a:cxn>
                <a:cxn ang="0">
                  <a:pos x="803" y="2436"/>
                </a:cxn>
                <a:cxn ang="0">
                  <a:pos x="734" y="2406"/>
                </a:cxn>
                <a:cxn ang="0">
                  <a:pos x="666" y="2373"/>
                </a:cxn>
                <a:cxn ang="0">
                  <a:pos x="602" y="2335"/>
                </a:cxn>
                <a:cxn ang="0">
                  <a:pos x="539" y="2295"/>
                </a:cxn>
                <a:cxn ang="0">
                  <a:pos x="480" y="2250"/>
                </a:cxn>
                <a:cxn ang="0">
                  <a:pos x="422" y="2203"/>
                </a:cxn>
                <a:cxn ang="0">
                  <a:pos x="368" y="2151"/>
                </a:cxn>
                <a:cxn ang="0">
                  <a:pos x="317" y="2097"/>
                </a:cxn>
                <a:cxn ang="0">
                  <a:pos x="270" y="2040"/>
                </a:cxn>
                <a:cxn ang="0">
                  <a:pos x="225" y="1980"/>
                </a:cxn>
                <a:cxn ang="0">
                  <a:pos x="185" y="1918"/>
                </a:cxn>
                <a:cxn ang="0">
                  <a:pos x="147" y="1853"/>
                </a:cxn>
                <a:cxn ang="0">
                  <a:pos x="114" y="1785"/>
                </a:cxn>
                <a:cxn ang="0">
                  <a:pos x="84" y="1716"/>
                </a:cxn>
                <a:cxn ang="0">
                  <a:pos x="60" y="1645"/>
                </a:cxn>
                <a:cxn ang="0">
                  <a:pos x="38" y="1571"/>
                </a:cxn>
                <a:cxn ang="0">
                  <a:pos x="22" y="1495"/>
                </a:cxn>
                <a:cxn ang="0">
                  <a:pos x="10" y="1419"/>
                </a:cxn>
                <a:cxn ang="0">
                  <a:pos x="2" y="1340"/>
                </a:cxn>
                <a:cxn ang="0">
                  <a:pos x="0" y="1261"/>
                </a:cxn>
                <a:cxn ang="0">
                  <a:pos x="2" y="1181"/>
                </a:cxn>
                <a:cxn ang="0">
                  <a:pos x="10" y="1102"/>
                </a:cxn>
                <a:cxn ang="0">
                  <a:pos x="22" y="1026"/>
                </a:cxn>
                <a:cxn ang="0">
                  <a:pos x="38" y="950"/>
                </a:cxn>
                <a:cxn ang="0">
                  <a:pos x="60" y="877"/>
                </a:cxn>
                <a:cxn ang="0">
                  <a:pos x="84" y="805"/>
                </a:cxn>
                <a:cxn ang="0">
                  <a:pos x="114" y="736"/>
                </a:cxn>
                <a:cxn ang="0">
                  <a:pos x="147" y="668"/>
                </a:cxn>
                <a:cxn ang="0">
                  <a:pos x="185" y="603"/>
                </a:cxn>
                <a:cxn ang="0">
                  <a:pos x="225" y="541"/>
                </a:cxn>
                <a:cxn ang="0">
                  <a:pos x="270" y="481"/>
                </a:cxn>
                <a:cxn ang="0">
                  <a:pos x="317" y="424"/>
                </a:cxn>
                <a:cxn ang="0">
                  <a:pos x="368" y="370"/>
                </a:cxn>
                <a:cxn ang="0">
                  <a:pos x="422" y="318"/>
                </a:cxn>
                <a:cxn ang="0">
                  <a:pos x="480" y="271"/>
                </a:cxn>
                <a:cxn ang="0">
                  <a:pos x="539" y="226"/>
                </a:cxn>
                <a:cxn ang="0">
                  <a:pos x="602" y="186"/>
                </a:cxn>
                <a:cxn ang="0">
                  <a:pos x="666" y="148"/>
                </a:cxn>
                <a:cxn ang="0">
                  <a:pos x="734" y="115"/>
                </a:cxn>
                <a:cxn ang="0">
                  <a:pos x="803" y="85"/>
                </a:cxn>
                <a:cxn ang="0">
                  <a:pos x="875" y="60"/>
                </a:cxn>
                <a:cxn ang="0">
                  <a:pos x="948" y="39"/>
                </a:cxn>
                <a:cxn ang="0">
                  <a:pos x="1023" y="22"/>
                </a:cxn>
                <a:cxn ang="0">
                  <a:pos x="1101" y="10"/>
                </a:cxn>
                <a:cxn ang="0">
                  <a:pos x="1179" y="2"/>
                </a:cxn>
                <a:cxn ang="0">
                  <a:pos x="1258" y="0"/>
                </a:cxn>
              </a:cxnLst>
              <a:rect l="0" t="0" r="r" b="b"/>
              <a:pathLst>
                <a:path w="1258" h="2521">
                  <a:moveTo>
                    <a:pt x="1258" y="0"/>
                  </a:moveTo>
                  <a:lnTo>
                    <a:pt x="1258" y="2521"/>
                  </a:lnTo>
                  <a:lnTo>
                    <a:pt x="1179" y="2519"/>
                  </a:lnTo>
                  <a:lnTo>
                    <a:pt x="1101" y="2511"/>
                  </a:lnTo>
                  <a:lnTo>
                    <a:pt x="1023" y="2499"/>
                  </a:lnTo>
                  <a:lnTo>
                    <a:pt x="948" y="2483"/>
                  </a:lnTo>
                  <a:lnTo>
                    <a:pt x="875" y="2461"/>
                  </a:lnTo>
                  <a:lnTo>
                    <a:pt x="803" y="2436"/>
                  </a:lnTo>
                  <a:lnTo>
                    <a:pt x="734" y="2406"/>
                  </a:lnTo>
                  <a:lnTo>
                    <a:pt x="666" y="2373"/>
                  </a:lnTo>
                  <a:lnTo>
                    <a:pt x="602" y="2335"/>
                  </a:lnTo>
                  <a:lnTo>
                    <a:pt x="539" y="2295"/>
                  </a:lnTo>
                  <a:lnTo>
                    <a:pt x="480" y="2250"/>
                  </a:lnTo>
                  <a:lnTo>
                    <a:pt x="422" y="2203"/>
                  </a:lnTo>
                  <a:lnTo>
                    <a:pt x="368" y="2151"/>
                  </a:lnTo>
                  <a:lnTo>
                    <a:pt x="317" y="2097"/>
                  </a:lnTo>
                  <a:lnTo>
                    <a:pt x="270" y="2040"/>
                  </a:lnTo>
                  <a:lnTo>
                    <a:pt x="225" y="1980"/>
                  </a:lnTo>
                  <a:lnTo>
                    <a:pt x="185" y="1918"/>
                  </a:lnTo>
                  <a:lnTo>
                    <a:pt x="147" y="1853"/>
                  </a:lnTo>
                  <a:lnTo>
                    <a:pt x="114" y="1785"/>
                  </a:lnTo>
                  <a:lnTo>
                    <a:pt x="84" y="1716"/>
                  </a:lnTo>
                  <a:lnTo>
                    <a:pt x="60" y="1645"/>
                  </a:lnTo>
                  <a:lnTo>
                    <a:pt x="38" y="1571"/>
                  </a:lnTo>
                  <a:lnTo>
                    <a:pt x="22" y="1495"/>
                  </a:lnTo>
                  <a:lnTo>
                    <a:pt x="10" y="1419"/>
                  </a:lnTo>
                  <a:lnTo>
                    <a:pt x="2" y="1340"/>
                  </a:lnTo>
                  <a:lnTo>
                    <a:pt x="0" y="1261"/>
                  </a:lnTo>
                  <a:lnTo>
                    <a:pt x="2" y="1181"/>
                  </a:lnTo>
                  <a:lnTo>
                    <a:pt x="10" y="1102"/>
                  </a:lnTo>
                  <a:lnTo>
                    <a:pt x="22" y="1026"/>
                  </a:lnTo>
                  <a:lnTo>
                    <a:pt x="38" y="950"/>
                  </a:lnTo>
                  <a:lnTo>
                    <a:pt x="60" y="877"/>
                  </a:lnTo>
                  <a:lnTo>
                    <a:pt x="84" y="805"/>
                  </a:lnTo>
                  <a:lnTo>
                    <a:pt x="114" y="736"/>
                  </a:lnTo>
                  <a:lnTo>
                    <a:pt x="147" y="668"/>
                  </a:lnTo>
                  <a:lnTo>
                    <a:pt x="185" y="603"/>
                  </a:lnTo>
                  <a:lnTo>
                    <a:pt x="225" y="541"/>
                  </a:lnTo>
                  <a:lnTo>
                    <a:pt x="270" y="481"/>
                  </a:lnTo>
                  <a:lnTo>
                    <a:pt x="317" y="424"/>
                  </a:lnTo>
                  <a:lnTo>
                    <a:pt x="368" y="370"/>
                  </a:lnTo>
                  <a:lnTo>
                    <a:pt x="422" y="318"/>
                  </a:lnTo>
                  <a:lnTo>
                    <a:pt x="480" y="271"/>
                  </a:lnTo>
                  <a:lnTo>
                    <a:pt x="539" y="226"/>
                  </a:lnTo>
                  <a:lnTo>
                    <a:pt x="602" y="186"/>
                  </a:lnTo>
                  <a:lnTo>
                    <a:pt x="666" y="148"/>
                  </a:lnTo>
                  <a:lnTo>
                    <a:pt x="734" y="115"/>
                  </a:lnTo>
                  <a:lnTo>
                    <a:pt x="803" y="85"/>
                  </a:lnTo>
                  <a:lnTo>
                    <a:pt x="875" y="60"/>
                  </a:lnTo>
                  <a:lnTo>
                    <a:pt x="948" y="39"/>
                  </a:lnTo>
                  <a:lnTo>
                    <a:pt x="1023" y="22"/>
                  </a:lnTo>
                  <a:lnTo>
                    <a:pt x="1101" y="10"/>
                  </a:lnTo>
                  <a:lnTo>
                    <a:pt x="1179" y="2"/>
                  </a:lnTo>
                  <a:lnTo>
                    <a:pt x="1258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8"/>
            <p:cNvSpPr>
              <a:spLocks/>
            </p:cNvSpPr>
            <p:nvPr/>
          </p:nvSpPr>
          <p:spPr bwMode="auto">
            <a:xfrm>
              <a:off x="6008688" y="1414463"/>
              <a:ext cx="2008188" cy="40052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84" y="2"/>
                </a:cxn>
                <a:cxn ang="0">
                  <a:pos x="162" y="9"/>
                </a:cxn>
                <a:cxn ang="0">
                  <a:pos x="239" y="22"/>
                </a:cxn>
                <a:cxn ang="0">
                  <a:pos x="315" y="38"/>
                </a:cxn>
                <a:cxn ang="0">
                  <a:pos x="388" y="59"/>
                </a:cxn>
                <a:cxn ang="0">
                  <a:pos x="460" y="85"/>
                </a:cxn>
                <a:cxn ang="0">
                  <a:pos x="530" y="114"/>
                </a:cxn>
                <a:cxn ang="0">
                  <a:pos x="597" y="148"/>
                </a:cxn>
                <a:cxn ang="0">
                  <a:pos x="662" y="185"/>
                </a:cxn>
                <a:cxn ang="0">
                  <a:pos x="724" y="226"/>
                </a:cxn>
                <a:cxn ang="0">
                  <a:pos x="785" y="270"/>
                </a:cxn>
                <a:cxn ang="0">
                  <a:pos x="841" y="319"/>
                </a:cxn>
                <a:cxn ang="0">
                  <a:pos x="896" y="369"/>
                </a:cxn>
                <a:cxn ang="0">
                  <a:pos x="947" y="424"/>
                </a:cxn>
                <a:cxn ang="0">
                  <a:pos x="995" y="481"/>
                </a:cxn>
                <a:cxn ang="0">
                  <a:pos x="1039" y="541"/>
                </a:cxn>
                <a:cxn ang="0">
                  <a:pos x="1080" y="603"/>
                </a:cxn>
                <a:cxn ang="0">
                  <a:pos x="1117" y="668"/>
                </a:cxn>
                <a:cxn ang="0">
                  <a:pos x="1151" y="736"/>
                </a:cxn>
                <a:cxn ang="0">
                  <a:pos x="1180" y="806"/>
                </a:cxn>
                <a:cxn ang="0">
                  <a:pos x="1206" y="878"/>
                </a:cxn>
                <a:cxn ang="0">
                  <a:pos x="1227" y="951"/>
                </a:cxn>
                <a:cxn ang="0">
                  <a:pos x="1243" y="1026"/>
                </a:cxn>
                <a:cxn ang="0">
                  <a:pos x="1256" y="1103"/>
                </a:cxn>
                <a:cxn ang="0">
                  <a:pos x="1263" y="1182"/>
                </a:cxn>
                <a:cxn ang="0">
                  <a:pos x="1265" y="1262"/>
                </a:cxn>
                <a:cxn ang="0">
                  <a:pos x="1263" y="1341"/>
                </a:cxn>
                <a:cxn ang="0">
                  <a:pos x="1256" y="1420"/>
                </a:cxn>
                <a:cxn ang="0">
                  <a:pos x="1243" y="1497"/>
                </a:cxn>
                <a:cxn ang="0">
                  <a:pos x="1227" y="1572"/>
                </a:cxn>
                <a:cxn ang="0">
                  <a:pos x="1206" y="1646"/>
                </a:cxn>
                <a:cxn ang="0">
                  <a:pos x="1180" y="1717"/>
                </a:cxn>
                <a:cxn ang="0">
                  <a:pos x="1151" y="1787"/>
                </a:cxn>
                <a:cxn ang="0">
                  <a:pos x="1117" y="1855"/>
                </a:cxn>
                <a:cxn ang="0">
                  <a:pos x="1080" y="1920"/>
                </a:cxn>
                <a:cxn ang="0">
                  <a:pos x="1039" y="1982"/>
                </a:cxn>
                <a:cxn ang="0">
                  <a:pos x="995" y="2042"/>
                </a:cxn>
                <a:cxn ang="0">
                  <a:pos x="947" y="2100"/>
                </a:cxn>
                <a:cxn ang="0">
                  <a:pos x="896" y="2154"/>
                </a:cxn>
                <a:cxn ang="0">
                  <a:pos x="841" y="2204"/>
                </a:cxn>
                <a:cxn ang="0">
                  <a:pos x="785" y="2253"/>
                </a:cxn>
                <a:cxn ang="0">
                  <a:pos x="724" y="2297"/>
                </a:cxn>
                <a:cxn ang="0">
                  <a:pos x="662" y="2338"/>
                </a:cxn>
                <a:cxn ang="0">
                  <a:pos x="597" y="2375"/>
                </a:cxn>
                <a:cxn ang="0">
                  <a:pos x="530" y="2409"/>
                </a:cxn>
                <a:cxn ang="0">
                  <a:pos x="460" y="2438"/>
                </a:cxn>
                <a:cxn ang="0">
                  <a:pos x="388" y="2464"/>
                </a:cxn>
                <a:cxn ang="0">
                  <a:pos x="315" y="2485"/>
                </a:cxn>
                <a:cxn ang="0">
                  <a:pos x="239" y="2501"/>
                </a:cxn>
                <a:cxn ang="0">
                  <a:pos x="162" y="2514"/>
                </a:cxn>
                <a:cxn ang="0">
                  <a:pos x="84" y="2521"/>
                </a:cxn>
                <a:cxn ang="0">
                  <a:pos x="4" y="2523"/>
                </a:cxn>
                <a:cxn ang="0">
                  <a:pos x="2" y="2523"/>
                </a:cxn>
                <a:cxn ang="0">
                  <a:pos x="2" y="2522"/>
                </a:cxn>
                <a:cxn ang="0">
                  <a:pos x="0" y="2522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1265" h="2523">
                  <a:moveTo>
                    <a:pt x="2" y="0"/>
                  </a:moveTo>
                  <a:lnTo>
                    <a:pt x="4" y="0"/>
                  </a:lnTo>
                  <a:lnTo>
                    <a:pt x="84" y="2"/>
                  </a:lnTo>
                  <a:lnTo>
                    <a:pt x="162" y="9"/>
                  </a:lnTo>
                  <a:lnTo>
                    <a:pt x="239" y="22"/>
                  </a:lnTo>
                  <a:lnTo>
                    <a:pt x="315" y="38"/>
                  </a:lnTo>
                  <a:lnTo>
                    <a:pt x="388" y="59"/>
                  </a:lnTo>
                  <a:lnTo>
                    <a:pt x="460" y="85"/>
                  </a:lnTo>
                  <a:lnTo>
                    <a:pt x="530" y="114"/>
                  </a:lnTo>
                  <a:lnTo>
                    <a:pt x="597" y="148"/>
                  </a:lnTo>
                  <a:lnTo>
                    <a:pt x="662" y="185"/>
                  </a:lnTo>
                  <a:lnTo>
                    <a:pt x="724" y="226"/>
                  </a:lnTo>
                  <a:lnTo>
                    <a:pt x="785" y="270"/>
                  </a:lnTo>
                  <a:lnTo>
                    <a:pt x="841" y="319"/>
                  </a:lnTo>
                  <a:lnTo>
                    <a:pt x="896" y="369"/>
                  </a:lnTo>
                  <a:lnTo>
                    <a:pt x="947" y="424"/>
                  </a:lnTo>
                  <a:lnTo>
                    <a:pt x="995" y="481"/>
                  </a:lnTo>
                  <a:lnTo>
                    <a:pt x="1039" y="541"/>
                  </a:lnTo>
                  <a:lnTo>
                    <a:pt x="1080" y="603"/>
                  </a:lnTo>
                  <a:lnTo>
                    <a:pt x="1117" y="668"/>
                  </a:lnTo>
                  <a:lnTo>
                    <a:pt x="1151" y="736"/>
                  </a:lnTo>
                  <a:lnTo>
                    <a:pt x="1180" y="806"/>
                  </a:lnTo>
                  <a:lnTo>
                    <a:pt x="1206" y="878"/>
                  </a:lnTo>
                  <a:lnTo>
                    <a:pt x="1227" y="951"/>
                  </a:lnTo>
                  <a:lnTo>
                    <a:pt x="1243" y="1026"/>
                  </a:lnTo>
                  <a:lnTo>
                    <a:pt x="1256" y="1103"/>
                  </a:lnTo>
                  <a:lnTo>
                    <a:pt x="1263" y="1182"/>
                  </a:lnTo>
                  <a:lnTo>
                    <a:pt x="1265" y="1262"/>
                  </a:lnTo>
                  <a:lnTo>
                    <a:pt x="1263" y="1341"/>
                  </a:lnTo>
                  <a:lnTo>
                    <a:pt x="1256" y="1420"/>
                  </a:lnTo>
                  <a:lnTo>
                    <a:pt x="1243" y="1497"/>
                  </a:lnTo>
                  <a:lnTo>
                    <a:pt x="1227" y="1572"/>
                  </a:lnTo>
                  <a:lnTo>
                    <a:pt x="1206" y="1646"/>
                  </a:lnTo>
                  <a:lnTo>
                    <a:pt x="1180" y="1717"/>
                  </a:lnTo>
                  <a:lnTo>
                    <a:pt x="1151" y="1787"/>
                  </a:lnTo>
                  <a:lnTo>
                    <a:pt x="1117" y="1855"/>
                  </a:lnTo>
                  <a:lnTo>
                    <a:pt x="1080" y="1920"/>
                  </a:lnTo>
                  <a:lnTo>
                    <a:pt x="1039" y="1982"/>
                  </a:lnTo>
                  <a:lnTo>
                    <a:pt x="995" y="2042"/>
                  </a:lnTo>
                  <a:lnTo>
                    <a:pt x="947" y="2100"/>
                  </a:lnTo>
                  <a:lnTo>
                    <a:pt x="896" y="2154"/>
                  </a:lnTo>
                  <a:lnTo>
                    <a:pt x="841" y="2204"/>
                  </a:lnTo>
                  <a:lnTo>
                    <a:pt x="785" y="2253"/>
                  </a:lnTo>
                  <a:lnTo>
                    <a:pt x="724" y="2297"/>
                  </a:lnTo>
                  <a:lnTo>
                    <a:pt x="662" y="2338"/>
                  </a:lnTo>
                  <a:lnTo>
                    <a:pt x="597" y="2375"/>
                  </a:lnTo>
                  <a:lnTo>
                    <a:pt x="530" y="2409"/>
                  </a:lnTo>
                  <a:lnTo>
                    <a:pt x="460" y="2438"/>
                  </a:lnTo>
                  <a:lnTo>
                    <a:pt x="388" y="2464"/>
                  </a:lnTo>
                  <a:lnTo>
                    <a:pt x="315" y="2485"/>
                  </a:lnTo>
                  <a:lnTo>
                    <a:pt x="239" y="2501"/>
                  </a:lnTo>
                  <a:lnTo>
                    <a:pt x="162" y="2514"/>
                  </a:lnTo>
                  <a:lnTo>
                    <a:pt x="84" y="2521"/>
                  </a:lnTo>
                  <a:lnTo>
                    <a:pt x="4" y="2523"/>
                  </a:lnTo>
                  <a:lnTo>
                    <a:pt x="2" y="2523"/>
                  </a:lnTo>
                  <a:lnTo>
                    <a:pt x="2" y="2522"/>
                  </a:lnTo>
                  <a:lnTo>
                    <a:pt x="0" y="2522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9"/>
            <p:cNvSpPr>
              <a:spLocks/>
            </p:cNvSpPr>
            <p:nvPr/>
          </p:nvSpPr>
          <p:spPr bwMode="auto">
            <a:xfrm>
              <a:off x="4265613" y="1668463"/>
              <a:ext cx="1743075" cy="3497263"/>
            </a:xfrm>
            <a:custGeom>
              <a:avLst/>
              <a:gdLst/>
              <a:ahLst/>
              <a:cxnLst>
                <a:cxn ang="0">
                  <a:pos x="1098" y="0"/>
                </a:cxn>
                <a:cxn ang="0">
                  <a:pos x="1098" y="2203"/>
                </a:cxn>
                <a:cxn ang="0">
                  <a:pos x="1023" y="2200"/>
                </a:cxn>
                <a:cxn ang="0">
                  <a:pos x="949" y="2192"/>
                </a:cxn>
                <a:cxn ang="0">
                  <a:pos x="877" y="2180"/>
                </a:cxn>
                <a:cxn ang="0">
                  <a:pos x="806" y="2163"/>
                </a:cxn>
                <a:cxn ang="0">
                  <a:pos x="737" y="2141"/>
                </a:cxn>
                <a:cxn ang="0">
                  <a:pos x="670" y="2115"/>
                </a:cxn>
                <a:cxn ang="0">
                  <a:pos x="606" y="2085"/>
                </a:cxn>
                <a:cxn ang="0">
                  <a:pos x="544" y="2052"/>
                </a:cxn>
                <a:cxn ang="0">
                  <a:pos x="484" y="2013"/>
                </a:cxn>
                <a:cxn ang="0">
                  <a:pos x="427" y="1972"/>
                </a:cxn>
                <a:cxn ang="0">
                  <a:pos x="373" y="1928"/>
                </a:cxn>
                <a:cxn ang="0">
                  <a:pos x="321" y="1879"/>
                </a:cxn>
                <a:cxn ang="0">
                  <a:pos x="273" y="1828"/>
                </a:cxn>
                <a:cxn ang="0">
                  <a:pos x="229" y="1773"/>
                </a:cxn>
                <a:cxn ang="0">
                  <a:pos x="188" y="1716"/>
                </a:cxn>
                <a:cxn ang="0">
                  <a:pos x="149" y="1656"/>
                </a:cxn>
                <a:cxn ang="0">
                  <a:pos x="116" y="1594"/>
                </a:cxn>
                <a:cxn ang="0">
                  <a:pos x="86" y="1529"/>
                </a:cxn>
                <a:cxn ang="0">
                  <a:pos x="60" y="1462"/>
                </a:cxn>
                <a:cxn ang="0">
                  <a:pos x="39" y="1394"/>
                </a:cxn>
                <a:cxn ang="0">
                  <a:pos x="22" y="1323"/>
                </a:cxn>
                <a:cxn ang="0">
                  <a:pos x="10" y="1251"/>
                </a:cxn>
                <a:cxn ang="0">
                  <a:pos x="2" y="1177"/>
                </a:cxn>
                <a:cxn ang="0">
                  <a:pos x="0" y="1102"/>
                </a:cxn>
                <a:cxn ang="0">
                  <a:pos x="2" y="1026"/>
                </a:cxn>
                <a:cxn ang="0">
                  <a:pos x="10" y="952"/>
                </a:cxn>
                <a:cxn ang="0">
                  <a:pos x="22" y="880"/>
                </a:cxn>
                <a:cxn ang="0">
                  <a:pos x="39" y="809"/>
                </a:cxn>
                <a:cxn ang="0">
                  <a:pos x="60" y="741"/>
                </a:cxn>
                <a:cxn ang="0">
                  <a:pos x="86" y="674"/>
                </a:cxn>
                <a:cxn ang="0">
                  <a:pos x="116" y="609"/>
                </a:cxn>
                <a:cxn ang="0">
                  <a:pos x="149" y="547"/>
                </a:cxn>
                <a:cxn ang="0">
                  <a:pos x="188" y="487"/>
                </a:cxn>
                <a:cxn ang="0">
                  <a:pos x="229" y="430"/>
                </a:cxn>
                <a:cxn ang="0">
                  <a:pos x="273" y="375"/>
                </a:cxn>
                <a:cxn ang="0">
                  <a:pos x="321" y="324"/>
                </a:cxn>
                <a:cxn ang="0">
                  <a:pos x="373" y="275"/>
                </a:cxn>
                <a:cxn ang="0">
                  <a:pos x="427" y="231"/>
                </a:cxn>
                <a:cxn ang="0">
                  <a:pos x="484" y="190"/>
                </a:cxn>
                <a:cxn ang="0">
                  <a:pos x="544" y="151"/>
                </a:cxn>
                <a:cxn ang="0">
                  <a:pos x="606" y="118"/>
                </a:cxn>
                <a:cxn ang="0">
                  <a:pos x="670" y="88"/>
                </a:cxn>
                <a:cxn ang="0">
                  <a:pos x="737" y="62"/>
                </a:cxn>
                <a:cxn ang="0">
                  <a:pos x="806" y="40"/>
                </a:cxn>
                <a:cxn ang="0">
                  <a:pos x="877" y="23"/>
                </a:cxn>
                <a:cxn ang="0">
                  <a:pos x="949" y="11"/>
                </a:cxn>
                <a:cxn ang="0">
                  <a:pos x="1023" y="3"/>
                </a:cxn>
                <a:cxn ang="0">
                  <a:pos x="1098" y="0"/>
                </a:cxn>
              </a:cxnLst>
              <a:rect l="0" t="0" r="r" b="b"/>
              <a:pathLst>
                <a:path w="1098" h="2203">
                  <a:moveTo>
                    <a:pt x="1098" y="0"/>
                  </a:moveTo>
                  <a:lnTo>
                    <a:pt x="1098" y="2203"/>
                  </a:lnTo>
                  <a:lnTo>
                    <a:pt x="1023" y="2200"/>
                  </a:lnTo>
                  <a:lnTo>
                    <a:pt x="949" y="2192"/>
                  </a:lnTo>
                  <a:lnTo>
                    <a:pt x="877" y="2180"/>
                  </a:lnTo>
                  <a:lnTo>
                    <a:pt x="806" y="2163"/>
                  </a:lnTo>
                  <a:lnTo>
                    <a:pt x="737" y="2141"/>
                  </a:lnTo>
                  <a:lnTo>
                    <a:pt x="670" y="2115"/>
                  </a:lnTo>
                  <a:lnTo>
                    <a:pt x="606" y="2085"/>
                  </a:lnTo>
                  <a:lnTo>
                    <a:pt x="544" y="2052"/>
                  </a:lnTo>
                  <a:lnTo>
                    <a:pt x="484" y="2013"/>
                  </a:lnTo>
                  <a:lnTo>
                    <a:pt x="427" y="1972"/>
                  </a:lnTo>
                  <a:lnTo>
                    <a:pt x="373" y="1928"/>
                  </a:lnTo>
                  <a:lnTo>
                    <a:pt x="321" y="1879"/>
                  </a:lnTo>
                  <a:lnTo>
                    <a:pt x="273" y="1828"/>
                  </a:lnTo>
                  <a:lnTo>
                    <a:pt x="229" y="1773"/>
                  </a:lnTo>
                  <a:lnTo>
                    <a:pt x="188" y="1716"/>
                  </a:lnTo>
                  <a:lnTo>
                    <a:pt x="149" y="1656"/>
                  </a:lnTo>
                  <a:lnTo>
                    <a:pt x="116" y="1594"/>
                  </a:lnTo>
                  <a:lnTo>
                    <a:pt x="86" y="1529"/>
                  </a:lnTo>
                  <a:lnTo>
                    <a:pt x="60" y="1462"/>
                  </a:lnTo>
                  <a:lnTo>
                    <a:pt x="39" y="1394"/>
                  </a:lnTo>
                  <a:lnTo>
                    <a:pt x="22" y="1323"/>
                  </a:lnTo>
                  <a:lnTo>
                    <a:pt x="10" y="1251"/>
                  </a:lnTo>
                  <a:lnTo>
                    <a:pt x="2" y="1177"/>
                  </a:lnTo>
                  <a:lnTo>
                    <a:pt x="0" y="1102"/>
                  </a:lnTo>
                  <a:lnTo>
                    <a:pt x="2" y="1026"/>
                  </a:lnTo>
                  <a:lnTo>
                    <a:pt x="10" y="952"/>
                  </a:lnTo>
                  <a:lnTo>
                    <a:pt x="22" y="880"/>
                  </a:lnTo>
                  <a:lnTo>
                    <a:pt x="39" y="809"/>
                  </a:lnTo>
                  <a:lnTo>
                    <a:pt x="60" y="741"/>
                  </a:lnTo>
                  <a:lnTo>
                    <a:pt x="86" y="674"/>
                  </a:lnTo>
                  <a:lnTo>
                    <a:pt x="116" y="609"/>
                  </a:lnTo>
                  <a:lnTo>
                    <a:pt x="149" y="547"/>
                  </a:lnTo>
                  <a:lnTo>
                    <a:pt x="188" y="487"/>
                  </a:lnTo>
                  <a:lnTo>
                    <a:pt x="229" y="430"/>
                  </a:lnTo>
                  <a:lnTo>
                    <a:pt x="273" y="375"/>
                  </a:lnTo>
                  <a:lnTo>
                    <a:pt x="321" y="324"/>
                  </a:lnTo>
                  <a:lnTo>
                    <a:pt x="373" y="275"/>
                  </a:lnTo>
                  <a:lnTo>
                    <a:pt x="427" y="231"/>
                  </a:lnTo>
                  <a:lnTo>
                    <a:pt x="484" y="190"/>
                  </a:lnTo>
                  <a:lnTo>
                    <a:pt x="544" y="151"/>
                  </a:lnTo>
                  <a:lnTo>
                    <a:pt x="606" y="118"/>
                  </a:lnTo>
                  <a:lnTo>
                    <a:pt x="670" y="88"/>
                  </a:lnTo>
                  <a:lnTo>
                    <a:pt x="737" y="62"/>
                  </a:lnTo>
                  <a:lnTo>
                    <a:pt x="806" y="40"/>
                  </a:lnTo>
                  <a:lnTo>
                    <a:pt x="877" y="23"/>
                  </a:lnTo>
                  <a:lnTo>
                    <a:pt x="949" y="11"/>
                  </a:lnTo>
                  <a:lnTo>
                    <a:pt x="1023" y="3"/>
                  </a:lnTo>
                  <a:lnTo>
                    <a:pt x="1098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0"/>
            <p:cNvSpPr>
              <a:spLocks/>
            </p:cNvSpPr>
            <p:nvPr/>
          </p:nvSpPr>
          <p:spPr bwMode="auto">
            <a:xfrm>
              <a:off x="6008688" y="1668463"/>
              <a:ext cx="1754188" cy="34972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0" y="3"/>
                </a:cxn>
                <a:cxn ang="0">
                  <a:pos x="154" y="11"/>
                </a:cxn>
                <a:cxn ang="0">
                  <a:pos x="226" y="23"/>
                </a:cxn>
                <a:cxn ang="0">
                  <a:pos x="297" y="39"/>
                </a:cxn>
                <a:cxn ang="0">
                  <a:pos x="366" y="61"/>
                </a:cxn>
                <a:cxn ang="0">
                  <a:pos x="433" y="87"/>
                </a:cxn>
                <a:cxn ang="0">
                  <a:pos x="498" y="116"/>
                </a:cxn>
                <a:cxn ang="0">
                  <a:pos x="560" y="151"/>
                </a:cxn>
                <a:cxn ang="0">
                  <a:pos x="620" y="189"/>
                </a:cxn>
                <a:cxn ang="0">
                  <a:pos x="677" y="230"/>
                </a:cxn>
                <a:cxn ang="0">
                  <a:pos x="732" y="275"/>
                </a:cxn>
                <a:cxn ang="0">
                  <a:pos x="783" y="323"/>
                </a:cxn>
                <a:cxn ang="0">
                  <a:pos x="831" y="374"/>
                </a:cxn>
                <a:cxn ang="0">
                  <a:pos x="876" y="429"/>
                </a:cxn>
                <a:cxn ang="0">
                  <a:pos x="917" y="486"/>
                </a:cxn>
                <a:cxn ang="0">
                  <a:pos x="955" y="546"/>
                </a:cxn>
                <a:cxn ang="0">
                  <a:pos x="989" y="608"/>
                </a:cxn>
                <a:cxn ang="0">
                  <a:pos x="1019" y="673"/>
                </a:cxn>
                <a:cxn ang="0">
                  <a:pos x="1045" y="740"/>
                </a:cxn>
                <a:cxn ang="0">
                  <a:pos x="1066" y="809"/>
                </a:cxn>
                <a:cxn ang="0">
                  <a:pos x="1083" y="880"/>
                </a:cxn>
                <a:cxn ang="0">
                  <a:pos x="1095" y="952"/>
                </a:cxn>
                <a:cxn ang="0">
                  <a:pos x="1103" y="1026"/>
                </a:cxn>
                <a:cxn ang="0">
                  <a:pos x="1105" y="1102"/>
                </a:cxn>
                <a:cxn ang="0">
                  <a:pos x="1103" y="1177"/>
                </a:cxn>
                <a:cxn ang="0">
                  <a:pos x="1095" y="1251"/>
                </a:cxn>
                <a:cxn ang="0">
                  <a:pos x="1083" y="1323"/>
                </a:cxn>
                <a:cxn ang="0">
                  <a:pos x="1066" y="1394"/>
                </a:cxn>
                <a:cxn ang="0">
                  <a:pos x="1045" y="1463"/>
                </a:cxn>
                <a:cxn ang="0">
                  <a:pos x="1019" y="1530"/>
                </a:cxn>
                <a:cxn ang="0">
                  <a:pos x="989" y="1595"/>
                </a:cxn>
                <a:cxn ang="0">
                  <a:pos x="955" y="1657"/>
                </a:cxn>
                <a:cxn ang="0">
                  <a:pos x="917" y="1717"/>
                </a:cxn>
                <a:cxn ang="0">
                  <a:pos x="876" y="1774"/>
                </a:cxn>
                <a:cxn ang="0">
                  <a:pos x="831" y="1829"/>
                </a:cxn>
                <a:cxn ang="0">
                  <a:pos x="783" y="1880"/>
                </a:cxn>
                <a:cxn ang="0">
                  <a:pos x="732" y="1928"/>
                </a:cxn>
                <a:cxn ang="0">
                  <a:pos x="677" y="1973"/>
                </a:cxn>
                <a:cxn ang="0">
                  <a:pos x="620" y="2014"/>
                </a:cxn>
                <a:cxn ang="0">
                  <a:pos x="560" y="2052"/>
                </a:cxn>
                <a:cxn ang="0">
                  <a:pos x="498" y="2087"/>
                </a:cxn>
                <a:cxn ang="0">
                  <a:pos x="433" y="2116"/>
                </a:cxn>
                <a:cxn ang="0">
                  <a:pos x="366" y="2142"/>
                </a:cxn>
                <a:cxn ang="0">
                  <a:pos x="297" y="2164"/>
                </a:cxn>
                <a:cxn ang="0">
                  <a:pos x="226" y="2180"/>
                </a:cxn>
                <a:cxn ang="0">
                  <a:pos x="154" y="2192"/>
                </a:cxn>
                <a:cxn ang="0">
                  <a:pos x="80" y="2200"/>
                </a:cxn>
                <a:cxn ang="0">
                  <a:pos x="4" y="2203"/>
                </a:cxn>
                <a:cxn ang="0">
                  <a:pos x="0" y="2203"/>
                </a:cxn>
                <a:cxn ang="0">
                  <a:pos x="0" y="0"/>
                </a:cxn>
              </a:cxnLst>
              <a:rect l="0" t="0" r="r" b="b"/>
              <a:pathLst>
                <a:path w="1105" h="2203">
                  <a:moveTo>
                    <a:pt x="0" y="0"/>
                  </a:moveTo>
                  <a:lnTo>
                    <a:pt x="4" y="0"/>
                  </a:lnTo>
                  <a:lnTo>
                    <a:pt x="80" y="3"/>
                  </a:lnTo>
                  <a:lnTo>
                    <a:pt x="154" y="11"/>
                  </a:lnTo>
                  <a:lnTo>
                    <a:pt x="226" y="23"/>
                  </a:lnTo>
                  <a:lnTo>
                    <a:pt x="297" y="39"/>
                  </a:lnTo>
                  <a:lnTo>
                    <a:pt x="366" y="61"/>
                  </a:lnTo>
                  <a:lnTo>
                    <a:pt x="433" y="87"/>
                  </a:lnTo>
                  <a:lnTo>
                    <a:pt x="498" y="116"/>
                  </a:lnTo>
                  <a:lnTo>
                    <a:pt x="560" y="151"/>
                  </a:lnTo>
                  <a:lnTo>
                    <a:pt x="620" y="189"/>
                  </a:lnTo>
                  <a:lnTo>
                    <a:pt x="677" y="230"/>
                  </a:lnTo>
                  <a:lnTo>
                    <a:pt x="732" y="275"/>
                  </a:lnTo>
                  <a:lnTo>
                    <a:pt x="783" y="323"/>
                  </a:lnTo>
                  <a:lnTo>
                    <a:pt x="831" y="374"/>
                  </a:lnTo>
                  <a:lnTo>
                    <a:pt x="876" y="429"/>
                  </a:lnTo>
                  <a:lnTo>
                    <a:pt x="917" y="486"/>
                  </a:lnTo>
                  <a:lnTo>
                    <a:pt x="955" y="546"/>
                  </a:lnTo>
                  <a:lnTo>
                    <a:pt x="989" y="608"/>
                  </a:lnTo>
                  <a:lnTo>
                    <a:pt x="1019" y="673"/>
                  </a:lnTo>
                  <a:lnTo>
                    <a:pt x="1045" y="740"/>
                  </a:lnTo>
                  <a:lnTo>
                    <a:pt x="1066" y="809"/>
                  </a:lnTo>
                  <a:lnTo>
                    <a:pt x="1083" y="880"/>
                  </a:lnTo>
                  <a:lnTo>
                    <a:pt x="1095" y="952"/>
                  </a:lnTo>
                  <a:lnTo>
                    <a:pt x="1103" y="1026"/>
                  </a:lnTo>
                  <a:lnTo>
                    <a:pt x="1105" y="1102"/>
                  </a:lnTo>
                  <a:lnTo>
                    <a:pt x="1103" y="1177"/>
                  </a:lnTo>
                  <a:lnTo>
                    <a:pt x="1095" y="1251"/>
                  </a:lnTo>
                  <a:lnTo>
                    <a:pt x="1083" y="1323"/>
                  </a:lnTo>
                  <a:lnTo>
                    <a:pt x="1066" y="1394"/>
                  </a:lnTo>
                  <a:lnTo>
                    <a:pt x="1045" y="1463"/>
                  </a:lnTo>
                  <a:lnTo>
                    <a:pt x="1019" y="1530"/>
                  </a:lnTo>
                  <a:lnTo>
                    <a:pt x="989" y="1595"/>
                  </a:lnTo>
                  <a:lnTo>
                    <a:pt x="955" y="1657"/>
                  </a:lnTo>
                  <a:lnTo>
                    <a:pt x="917" y="1717"/>
                  </a:lnTo>
                  <a:lnTo>
                    <a:pt x="876" y="1774"/>
                  </a:lnTo>
                  <a:lnTo>
                    <a:pt x="831" y="1829"/>
                  </a:lnTo>
                  <a:lnTo>
                    <a:pt x="783" y="1880"/>
                  </a:lnTo>
                  <a:lnTo>
                    <a:pt x="732" y="1928"/>
                  </a:lnTo>
                  <a:lnTo>
                    <a:pt x="677" y="1973"/>
                  </a:lnTo>
                  <a:lnTo>
                    <a:pt x="620" y="2014"/>
                  </a:lnTo>
                  <a:lnTo>
                    <a:pt x="560" y="2052"/>
                  </a:lnTo>
                  <a:lnTo>
                    <a:pt x="498" y="2087"/>
                  </a:lnTo>
                  <a:lnTo>
                    <a:pt x="433" y="2116"/>
                  </a:lnTo>
                  <a:lnTo>
                    <a:pt x="366" y="2142"/>
                  </a:lnTo>
                  <a:lnTo>
                    <a:pt x="297" y="2164"/>
                  </a:lnTo>
                  <a:lnTo>
                    <a:pt x="226" y="2180"/>
                  </a:lnTo>
                  <a:lnTo>
                    <a:pt x="154" y="2192"/>
                  </a:lnTo>
                  <a:lnTo>
                    <a:pt x="80" y="2200"/>
                  </a:lnTo>
                  <a:lnTo>
                    <a:pt x="4" y="2203"/>
                  </a:lnTo>
                  <a:lnTo>
                    <a:pt x="0" y="22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1"/>
            <p:cNvSpPr>
              <a:spLocks noEditPoints="1"/>
            </p:cNvSpPr>
            <p:nvPr/>
          </p:nvSpPr>
          <p:spPr bwMode="auto">
            <a:xfrm>
              <a:off x="5299076" y="2197100"/>
              <a:ext cx="1522413" cy="2397125"/>
            </a:xfrm>
            <a:custGeom>
              <a:avLst/>
              <a:gdLst/>
              <a:ahLst/>
              <a:cxnLst>
                <a:cxn ang="0">
                  <a:pos x="581" y="1159"/>
                </a:cxn>
                <a:cxn ang="0">
                  <a:pos x="653" y="1124"/>
                </a:cxn>
                <a:cxn ang="0">
                  <a:pos x="702" y="1066"/>
                </a:cxn>
                <a:cxn ang="0">
                  <a:pos x="718" y="996"/>
                </a:cxn>
                <a:cxn ang="0">
                  <a:pos x="705" y="934"/>
                </a:cxn>
                <a:cxn ang="0">
                  <a:pos x="663" y="883"/>
                </a:cxn>
                <a:cxn ang="0">
                  <a:pos x="586" y="846"/>
                </a:cxn>
                <a:cxn ang="0">
                  <a:pos x="383" y="277"/>
                </a:cxn>
                <a:cxn ang="0">
                  <a:pos x="318" y="325"/>
                </a:cxn>
                <a:cxn ang="0">
                  <a:pos x="286" y="390"/>
                </a:cxn>
                <a:cxn ang="0">
                  <a:pos x="292" y="457"/>
                </a:cxn>
                <a:cxn ang="0">
                  <a:pos x="333" y="516"/>
                </a:cxn>
                <a:cxn ang="0">
                  <a:pos x="410" y="559"/>
                </a:cxn>
                <a:cxn ang="0">
                  <a:pos x="553" y="0"/>
                </a:cxn>
                <a:cxn ang="0">
                  <a:pos x="637" y="98"/>
                </a:cxn>
                <a:cxn ang="0">
                  <a:pos x="743" y="136"/>
                </a:cxn>
                <a:cxn ang="0">
                  <a:pos x="826" y="197"/>
                </a:cxn>
                <a:cxn ang="0">
                  <a:pos x="884" y="277"/>
                </a:cxn>
                <a:cxn ang="0">
                  <a:pos x="919" y="377"/>
                </a:cxn>
                <a:cxn ang="0">
                  <a:pos x="651" y="353"/>
                </a:cxn>
                <a:cxn ang="0">
                  <a:pos x="601" y="295"/>
                </a:cxn>
                <a:cxn ang="0">
                  <a:pos x="553" y="600"/>
                </a:cxn>
                <a:cxn ang="0">
                  <a:pos x="708" y="645"/>
                </a:cxn>
                <a:cxn ang="0">
                  <a:pos x="822" y="700"/>
                </a:cxn>
                <a:cxn ang="0">
                  <a:pos x="896" y="768"/>
                </a:cxn>
                <a:cxn ang="0">
                  <a:pos x="943" y="858"/>
                </a:cxn>
                <a:cxn ang="0">
                  <a:pos x="959" y="966"/>
                </a:cxn>
                <a:cxn ang="0">
                  <a:pos x="944" y="1074"/>
                </a:cxn>
                <a:cxn ang="0">
                  <a:pos x="898" y="1168"/>
                </a:cxn>
                <a:cxn ang="0">
                  <a:pos x="823" y="1248"/>
                </a:cxn>
                <a:cxn ang="0">
                  <a:pos x="723" y="1308"/>
                </a:cxn>
                <a:cxn ang="0">
                  <a:pos x="599" y="1344"/>
                </a:cxn>
                <a:cxn ang="0">
                  <a:pos x="410" y="1510"/>
                </a:cxn>
                <a:cxn ang="0">
                  <a:pos x="319" y="1340"/>
                </a:cxn>
                <a:cxn ang="0">
                  <a:pos x="201" y="1293"/>
                </a:cxn>
                <a:cxn ang="0">
                  <a:pos x="107" y="1219"/>
                </a:cxn>
                <a:cxn ang="0">
                  <a:pos x="39" y="1118"/>
                </a:cxn>
                <a:cxn ang="0">
                  <a:pos x="0" y="990"/>
                </a:cxn>
                <a:cxn ang="0">
                  <a:pos x="278" y="1029"/>
                </a:cxn>
                <a:cxn ang="0">
                  <a:pos x="337" y="1106"/>
                </a:cxn>
                <a:cxn ang="0">
                  <a:pos x="410" y="1153"/>
                </a:cxn>
                <a:cxn ang="0">
                  <a:pos x="309" y="769"/>
                </a:cxn>
                <a:cxn ang="0">
                  <a:pos x="189" y="707"/>
                </a:cxn>
                <a:cxn ang="0">
                  <a:pos x="105" y="629"/>
                </a:cxn>
                <a:cxn ang="0">
                  <a:pos x="56" y="534"/>
                </a:cxn>
                <a:cxn ang="0">
                  <a:pos x="39" y="424"/>
                </a:cxn>
                <a:cxn ang="0">
                  <a:pos x="57" y="314"/>
                </a:cxn>
                <a:cxn ang="0">
                  <a:pos x="114" y="220"/>
                </a:cxn>
                <a:cxn ang="0">
                  <a:pos x="205" y="144"/>
                </a:cxn>
                <a:cxn ang="0">
                  <a:pos x="320" y="98"/>
                </a:cxn>
                <a:cxn ang="0">
                  <a:pos x="410" y="0"/>
                </a:cxn>
              </a:cxnLst>
              <a:rect l="0" t="0" r="r" b="b"/>
              <a:pathLst>
                <a:path w="959" h="1510">
                  <a:moveTo>
                    <a:pt x="553" y="836"/>
                  </a:moveTo>
                  <a:lnTo>
                    <a:pt x="553" y="1165"/>
                  </a:lnTo>
                  <a:lnTo>
                    <a:pt x="581" y="1159"/>
                  </a:lnTo>
                  <a:lnTo>
                    <a:pt x="608" y="1150"/>
                  </a:lnTo>
                  <a:lnTo>
                    <a:pt x="632" y="1138"/>
                  </a:lnTo>
                  <a:lnTo>
                    <a:pt x="653" y="1124"/>
                  </a:lnTo>
                  <a:lnTo>
                    <a:pt x="672" y="1106"/>
                  </a:lnTo>
                  <a:lnTo>
                    <a:pt x="689" y="1087"/>
                  </a:lnTo>
                  <a:lnTo>
                    <a:pt x="702" y="1066"/>
                  </a:lnTo>
                  <a:lnTo>
                    <a:pt x="711" y="1044"/>
                  </a:lnTo>
                  <a:lnTo>
                    <a:pt x="717" y="1021"/>
                  </a:lnTo>
                  <a:lnTo>
                    <a:pt x="718" y="996"/>
                  </a:lnTo>
                  <a:lnTo>
                    <a:pt x="717" y="974"/>
                  </a:lnTo>
                  <a:lnTo>
                    <a:pt x="712" y="954"/>
                  </a:lnTo>
                  <a:lnTo>
                    <a:pt x="705" y="934"/>
                  </a:lnTo>
                  <a:lnTo>
                    <a:pt x="694" y="916"/>
                  </a:lnTo>
                  <a:lnTo>
                    <a:pt x="680" y="899"/>
                  </a:lnTo>
                  <a:lnTo>
                    <a:pt x="663" y="883"/>
                  </a:lnTo>
                  <a:lnTo>
                    <a:pt x="641" y="869"/>
                  </a:lnTo>
                  <a:lnTo>
                    <a:pt x="616" y="857"/>
                  </a:lnTo>
                  <a:lnTo>
                    <a:pt x="586" y="846"/>
                  </a:lnTo>
                  <a:lnTo>
                    <a:pt x="553" y="836"/>
                  </a:lnTo>
                  <a:close/>
                  <a:moveTo>
                    <a:pt x="410" y="268"/>
                  </a:moveTo>
                  <a:lnTo>
                    <a:pt x="383" y="277"/>
                  </a:lnTo>
                  <a:lnTo>
                    <a:pt x="359" y="290"/>
                  </a:lnTo>
                  <a:lnTo>
                    <a:pt x="337" y="306"/>
                  </a:lnTo>
                  <a:lnTo>
                    <a:pt x="318" y="325"/>
                  </a:lnTo>
                  <a:lnTo>
                    <a:pt x="303" y="346"/>
                  </a:lnTo>
                  <a:lnTo>
                    <a:pt x="293" y="367"/>
                  </a:lnTo>
                  <a:lnTo>
                    <a:pt x="286" y="390"/>
                  </a:lnTo>
                  <a:lnTo>
                    <a:pt x="284" y="414"/>
                  </a:lnTo>
                  <a:lnTo>
                    <a:pt x="286" y="436"/>
                  </a:lnTo>
                  <a:lnTo>
                    <a:pt x="292" y="457"/>
                  </a:lnTo>
                  <a:lnTo>
                    <a:pt x="302" y="478"/>
                  </a:lnTo>
                  <a:lnTo>
                    <a:pt x="316" y="497"/>
                  </a:lnTo>
                  <a:lnTo>
                    <a:pt x="333" y="516"/>
                  </a:lnTo>
                  <a:lnTo>
                    <a:pt x="355" y="532"/>
                  </a:lnTo>
                  <a:lnTo>
                    <a:pt x="381" y="547"/>
                  </a:lnTo>
                  <a:lnTo>
                    <a:pt x="410" y="559"/>
                  </a:lnTo>
                  <a:lnTo>
                    <a:pt x="410" y="268"/>
                  </a:lnTo>
                  <a:close/>
                  <a:moveTo>
                    <a:pt x="410" y="0"/>
                  </a:moveTo>
                  <a:lnTo>
                    <a:pt x="553" y="0"/>
                  </a:lnTo>
                  <a:lnTo>
                    <a:pt x="553" y="83"/>
                  </a:lnTo>
                  <a:lnTo>
                    <a:pt x="596" y="89"/>
                  </a:lnTo>
                  <a:lnTo>
                    <a:pt x="637" y="98"/>
                  </a:lnTo>
                  <a:lnTo>
                    <a:pt x="675" y="108"/>
                  </a:lnTo>
                  <a:lnTo>
                    <a:pt x="710" y="121"/>
                  </a:lnTo>
                  <a:lnTo>
                    <a:pt x="743" y="136"/>
                  </a:lnTo>
                  <a:lnTo>
                    <a:pt x="773" y="155"/>
                  </a:lnTo>
                  <a:lnTo>
                    <a:pt x="801" y="175"/>
                  </a:lnTo>
                  <a:lnTo>
                    <a:pt x="826" y="197"/>
                  </a:lnTo>
                  <a:lnTo>
                    <a:pt x="848" y="222"/>
                  </a:lnTo>
                  <a:lnTo>
                    <a:pt x="868" y="249"/>
                  </a:lnTo>
                  <a:lnTo>
                    <a:pt x="884" y="277"/>
                  </a:lnTo>
                  <a:lnTo>
                    <a:pt x="899" y="308"/>
                  </a:lnTo>
                  <a:lnTo>
                    <a:pt x="910" y="342"/>
                  </a:lnTo>
                  <a:lnTo>
                    <a:pt x="919" y="377"/>
                  </a:lnTo>
                  <a:lnTo>
                    <a:pt x="671" y="404"/>
                  </a:lnTo>
                  <a:lnTo>
                    <a:pt x="663" y="377"/>
                  </a:lnTo>
                  <a:lnTo>
                    <a:pt x="651" y="353"/>
                  </a:lnTo>
                  <a:lnTo>
                    <a:pt x="638" y="331"/>
                  </a:lnTo>
                  <a:lnTo>
                    <a:pt x="621" y="312"/>
                  </a:lnTo>
                  <a:lnTo>
                    <a:pt x="601" y="295"/>
                  </a:lnTo>
                  <a:lnTo>
                    <a:pt x="578" y="281"/>
                  </a:lnTo>
                  <a:lnTo>
                    <a:pt x="553" y="270"/>
                  </a:lnTo>
                  <a:lnTo>
                    <a:pt x="553" y="600"/>
                  </a:lnTo>
                  <a:lnTo>
                    <a:pt x="609" y="614"/>
                  </a:lnTo>
                  <a:lnTo>
                    <a:pt x="661" y="629"/>
                  </a:lnTo>
                  <a:lnTo>
                    <a:pt x="708" y="645"/>
                  </a:lnTo>
                  <a:lnTo>
                    <a:pt x="751" y="662"/>
                  </a:lnTo>
                  <a:lnTo>
                    <a:pt x="788" y="680"/>
                  </a:lnTo>
                  <a:lnTo>
                    <a:pt x="822" y="700"/>
                  </a:lnTo>
                  <a:lnTo>
                    <a:pt x="849" y="720"/>
                  </a:lnTo>
                  <a:lnTo>
                    <a:pt x="873" y="742"/>
                  </a:lnTo>
                  <a:lnTo>
                    <a:pt x="896" y="768"/>
                  </a:lnTo>
                  <a:lnTo>
                    <a:pt x="915" y="796"/>
                  </a:lnTo>
                  <a:lnTo>
                    <a:pt x="931" y="826"/>
                  </a:lnTo>
                  <a:lnTo>
                    <a:pt x="943" y="858"/>
                  </a:lnTo>
                  <a:lnTo>
                    <a:pt x="952" y="892"/>
                  </a:lnTo>
                  <a:lnTo>
                    <a:pt x="958" y="928"/>
                  </a:lnTo>
                  <a:lnTo>
                    <a:pt x="959" y="966"/>
                  </a:lnTo>
                  <a:lnTo>
                    <a:pt x="958" y="1003"/>
                  </a:lnTo>
                  <a:lnTo>
                    <a:pt x="952" y="1039"/>
                  </a:lnTo>
                  <a:lnTo>
                    <a:pt x="944" y="1074"/>
                  </a:lnTo>
                  <a:lnTo>
                    <a:pt x="932" y="1106"/>
                  </a:lnTo>
                  <a:lnTo>
                    <a:pt x="917" y="1138"/>
                  </a:lnTo>
                  <a:lnTo>
                    <a:pt x="898" y="1168"/>
                  </a:lnTo>
                  <a:lnTo>
                    <a:pt x="876" y="1196"/>
                  </a:lnTo>
                  <a:lnTo>
                    <a:pt x="851" y="1223"/>
                  </a:lnTo>
                  <a:lnTo>
                    <a:pt x="823" y="1248"/>
                  </a:lnTo>
                  <a:lnTo>
                    <a:pt x="792" y="1271"/>
                  </a:lnTo>
                  <a:lnTo>
                    <a:pt x="759" y="1291"/>
                  </a:lnTo>
                  <a:lnTo>
                    <a:pt x="723" y="1308"/>
                  </a:lnTo>
                  <a:lnTo>
                    <a:pt x="684" y="1323"/>
                  </a:lnTo>
                  <a:lnTo>
                    <a:pt x="643" y="1335"/>
                  </a:lnTo>
                  <a:lnTo>
                    <a:pt x="599" y="1344"/>
                  </a:lnTo>
                  <a:lnTo>
                    <a:pt x="553" y="1351"/>
                  </a:lnTo>
                  <a:lnTo>
                    <a:pt x="553" y="1510"/>
                  </a:lnTo>
                  <a:lnTo>
                    <a:pt x="410" y="1510"/>
                  </a:lnTo>
                  <a:lnTo>
                    <a:pt x="410" y="1356"/>
                  </a:lnTo>
                  <a:lnTo>
                    <a:pt x="364" y="1350"/>
                  </a:lnTo>
                  <a:lnTo>
                    <a:pt x="319" y="1340"/>
                  </a:lnTo>
                  <a:lnTo>
                    <a:pt x="277" y="1327"/>
                  </a:lnTo>
                  <a:lnTo>
                    <a:pt x="237" y="1312"/>
                  </a:lnTo>
                  <a:lnTo>
                    <a:pt x="201" y="1293"/>
                  </a:lnTo>
                  <a:lnTo>
                    <a:pt x="166" y="1272"/>
                  </a:lnTo>
                  <a:lnTo>
                    <a:pt x="135" y="1247"/>
                  </a:lnTo>
                  <a:lnTo>
                    <a:pt x="107" y="1219"/>
                  </a:lnTo>
                  <a:lnTo>
                    <a:pt x="81" y="1188"/>
                  </a:lnTo>
                  <a:lnTo>
                    <a:pt x="58" y="1155"/>
                  </a:lnTo>
                  <a:lnTo>
                    <a:pt x="39" y="1118"/>
                  </a:lnTo>
                  <a:lnTo>
                    <a:pt x="23" y="1079"/>
                  </a:lnTo>
                  <a:lnTo>
                    <a:pt x="10" y="1036"/>
                  </a:lnTo>
                  <a:lnTo>
                    <a:pt x="0" y="990"/>
                  </a:lnTo>
                  <a:lnTo>
                    <a:pt x="256" y="966"/>
                  </a:lnTo>
                  <a:lnTo>
                    <a:pt x="265" y="998"/>
                  </a:lnTo>
                  <a:lnTo>
                    <a:pt x="278" y="1029"/>
                  </a:lnTo>
                  <a:lnTo>
                    <a:pt x="294" y="1057"/>
                  </a:lnTo>
                  <a:lnTo>
                    <a:pt x="314" y="1083"/>
                  </a:lnTo>
                  <a:lnTo>
                    <a:pt x="337" y="1106"/>
                  </a:lnTo>
                  <a:lnTo>
                    <a:pt x="360" y="1125"/>
                  </a:lnTo>
                  <a:lnTo>
                    <a:pt x="385" y="1141"/>
                  </a:lnTo>
                  <a:lnTo>
                    <a:pt x="410" y="1153"/>
                  </a:lnTo>
                  <a:lnTo>
                    <a:pt x="410" y="800"/>
                  </a:lnTo>
                  <a:lnTo>
                    <a:pt x="358" y="785"/>
                  </a:lnTo>
                  <a:lnTo>
                    <a:pt x="309" y="769"/>
                  </a:lnTo>
                  <a:lnTo>
                    <a:pt x="265" y="750"/>
                  </a:lnTo>
                  <a:lnTo>
                    <a:pt x="224" y="730"/>
                  </a:lnTo>
                  <a:lnTo>
                    <a:pt x="189" y="707"/>
                  </a:lnTo>
                  <a:lnTo>
                    <a:pt x="157" y="683"/>
                  </a:lnTo>
                  <a:lnTo>
                    <a:pt x="129" y="656"/>
                  </a:lnTo>
                  <a:lnTo>
                    <a:pt x="105" y="629"/>
                  </a:lnTo>
                  <a:lnTo>
                    <a:pt x="85" y="598"/>
                  </a:lnTo>
                  <a:lnTo>
                    <a:pt x="69" y="567"/>
                  </a:lnTo>
                  <a:lnTo>
                    <a:pt x="56" y="534"/>
                  </a:lnTo>
                  <a:lnTo>
                    <a:pt x="46" y="499"/>
                  </a:lnTo>
                  <a:lnTo>
                    <a:pt x="41" y="462"/>
                  </a:lnTo>
                  <a:lnTo>
                    <a:pt x="39" y="424"/>
                  </a:lnTo>
                  <a:lnTo>
                    <a:pt x="41" y="385"/>
                  </a:lnTo>
                  <a:lnTo>
                    <a:pt x="47" y="349"/>
                  </a:lnTo>
                  <a:lnTo>
                    <a:pt x="57" y="314"/>
                  </a:lnTo>
                  <a:lnTo>
                    <a:pt x="73" y="280"/>
                  </a:lnTo>
                  <a:lnTo>
                    <a:pt x="91" y="249"/>
                  </a:lnTo>
                  <a:lnTo>
                    <a:pt x="114" y="220"/>
                  </a:lnTo>
                  <a:lnTo>
                    <a:pt x="141" y="192"/>
                  </a:lnTo>
                  <a:lnTo>
                    <a:pt x="171" y="167"/>
                  </a:lnTo>
                  <a:lnTo>
                    <a:pt x="205" y="144"/>
                  </a:lnTo>
                  <a:lnTo>
                    <a:pt x="240" y="126"/>
                  </a:lnTo>
                  <a:lnTo>
                    <a:pt x="278" y="110"/>
                  </a:lnTo>
                  <a:lnTo>
                    <a:pt x="320" y="98"/>
                  </a:lnTo>
                  <a:lnTo>
                    <a:pt x="364" y="89"/>
                  </a:lnTo>
                  <a:lnTo>
                    <a:pt x="410" y="83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6742300" y="2160183"/>
            <a:ext cx="3808470" cy="3253982"/>
            <a:chOff x="6742300" y="1816511"/>
            <a:chExt cx="3808470" cy="3253982"/>
          </a:xfrm>
        </p:grpSpPr>
        <p:sp>
          <p:nvSpPr>
            <p:cNvPr id="144" name="Flowchart: Extract 143"/>
            <p:cNvSpPr/>
            <p:nvPr/>
          </p:nvSpPr>
          <p:spPr>
            <a:xfrm>
              <a:off x="6760776" y="1816511"/>
              <a:ext cx="3771518" cy="1059851"/>
            </a:xfrm>
            <a:prstGeom prst="flowChartExtra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8" name="Group 147"/>
            <p:cNvGrpSpPr/>
            <p:nvPr/>
          </p:nvGrpSpPr>
          <p:grpSpPr>
            <a:xfrm>
              <a:off x="7327964" y="2992838"/>
              <a:ext cx="2637142" cy="1209835"/>
              <a:chOff x="7313982" y="2964238"/>
              <a:chExt cx="2877788" cy="1675826"/>
            </a:xfrm>
          </p:grpSpPr>
          <p:sp>
            <p:nvSpPr>
              <p:cNvPr id="145" name="Rectangle 144"/>
              <p:cNvSpPr/>
              <p:nvPr/>
            </p:nvSpPr>
            <p:spPr>
              <a:xfrm>
                <a:off x="7313982" y="2964238"/>
                <a:ext cx="612890" cy="1675826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Rectangle 145"/>
              <p:cNvSpPr/>
              <p:nvPr/>
            </p:nvSpPr>
            <p:spPr>
              <a:xfrm>
                <a:off x="8446432" y="2964238"/>
                <a:ext cx="612890" cy="1675826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Rectangle 146"/>
              <p:cNvSpPr/>
              <p:nvPr/>
            </p:nvSpPr>
            <p:spPr>
              <a:xfrm>
                <a:off x="9578880" y="2964238"/>
                <a:ext cx="612890" cy="1675826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9" name="Rectangle 148"/>
            <p:cNvSpPr/>
            <p:nvPr/>
          </p:nvSpPr>
          <p:spPr>
            <a:xfrm>
              <a:off x="6742300" y="4746653"/>
              <a:ext cx="3808470" cy="3238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7177212" y="4318928"/>
              <a:ext cx="2938646" cy="3238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3" name="TextBox 152"/>
          <p:cNvSpPr txBox="1"/>
          <p:nvPr/>
        </p:nvSpPr>
        <p:spPr>
          <a:xfrm>
            <a:off x="7961091" y="2555729"/>
            <a:ext cx="13708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A11668-1783-4082-AC05-760D39719FD4}"/>
              </a:ext>
            </a:extLst>
          </p:cNvPr>
          <p:cNvSpPr txBox="1"/>
          <p:nvPr/>
        </p:nvSpPr>
        <p:spPr>
          <a:xfrm>
            <a:off x="8843102" y="5524260"/>
            <a:ext cx="335951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dirty="0"/>
              <a:t>Module 4 Project </a:t>
            </a:r>
          </a:p>
          <a:p>
            <a:r>
              <a:rPr lang="en-US" sz="1600" b="1" i="1" dirty="0"/>
              <a:t>Submission by: Mohanned T. Gomaa</a:t>
            </a:r>
          </a:p>
          <a:p>
            <a:r>
              <a:rPr lang="en-US" sz="1600" b="1" i="1" dirty="0"/>
              <a:t>Date: 15 Feb 2020</a:t>
            </a:r>
          </a:p>
          <a:p>
            <a:r>
              <a:rPr lang="en-US" b="1" i="1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870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16BD8B-3B49-441B-8398-8E1D6F180C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95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16BD8B-3B49-441B-8398-8E1D6F180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135FD9-A2B3-4AF4-BD2E-073CE410E0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749245"/>
            <a:ext cx="12188825" cy="3206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cation Model…</a:t>
            </a: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8707940" y="2823483"/>
            <a:ext cx="959582" cy="1117784"/>
          </a:xfrm>
          <a:custGeom>
            <a:avLst/>
            <a:gdLst>
              <a:gd name="T0" fmla="*/ 229 w 370"/>
              <a:gd name="T1" fmla="*/ 1 h 431"/>
              <a:gd name="T2" fmla="*/ 282 w 370"/>
              <a:gd name="T3" fmla="*/ 15 h 431"/>
              <a:gd name="T4" fmla="*/ 321 w 370"/>
              <a:gd name="T5" fmla="*/ 44 h 431"/>
              <a:gd name="T6" fmla="*/ 345 w 370"/>
              <a:gd name="T7" fmla="*/ 84 h 431"/>
              <a:gd name="T8" fmla="*/ 260 w 370"/>
              <a:gd name="T9" fmla="*/ 120 h 431"/>
              <a:gd name="T10" fmla="*/ 246 w 370"/>
              <a:gd name="T11" fmla="*/ 87 h 431"/>
              <a:gd name="T12" fmla="*/ 217 w 370"/>
              <a:gd name="T13" fmla="*/ 67 h 431"/>
              <a:gd name="T14" fmla="*/ 177 w 370"/>
              <a:gd name="T15" fmla="*/ 66 h 431"/>
              <a:gd name="T16" fmla="*/ 150 w 370"/>
              <a:gd name="T17" fmla="*/ 79 h 431"/>
              <a:gd name="T18" fmla="*/ 134 w 370"/>
              <a:gd name="T19" fmla="*/ 102 h 431"/>
              <a:gd name="T20" fmla="*/ 132 w 370"/>
              <a:gd name="T21" fmla="*/ 130 h 431"/>
              <a:gd name="T22" fmla="*/ 148 w 370"/>
              <a:gd name="T23" fmla="*/ 183 h 431"/>
              <a:gd name="T24" fmla="*/ 253 w 370"/>
              <a:gd name="T25" fmla="*/ 247 h 431"/>
              <a:gd name="T26" fmla="*/ 165 w 370"/>
              <a:gd name="T27" fmla="*/ 260 h 431"/>
              <a:gd name="T28" fmla="*/ 154 w 370"/>
              <a:gd name="T29" fmla="*/ 301 h 431"/>
              <a:gd name="T30" fmla="*/ 131 w 370"/>
              <a:gd name="T31" fmla="*/ 332 h 431"/>
              <a:gd name="T32" fmla="*/ 134 w 370"/>
              <a:gd name="T33" fmla="*/ 344 h 431"/>
              <a:gd name="T34" fmla="*/ 171 w 370"/>
              <a:gd name="T35" fmla="*/ 343 h 431"/>
              <a:gd name="T36" fmla="*/ 190 w 370"/>
              <a:gd name="T37" fmla="*/ 346 h 431"/>
              <a:gd name="T38" fmla="*/ 233 w 370"/>
              <a:gd name="T39" fmla="*/ 355 h 431"/>
              <a:gd name="T40" fmla="*/ 265 w 370"/>
              <a:gd name="T41" fmla="*/ 359 h 431"/>
              <a:gd name="T42" fmla="*/ 306 w 370"/>
              <a:gd name="T43" fmla="*/ 352 h 431"/>
              <a:gd name="T44" fmla="*/ 370 w 370"/>
              <a:gd name="T45" fmla="*/ 411 h 431"/>
              <a:gd name="T46" fmla="*/ 325 w 370"/>
              <a:gd name="T47" fmla="*/ 424 h 431"/>
              <a:gd name="T48" fmla="*/ 276 w 370"/>
              <a:gd name="T49" fmla="*/ 429 h 431"/>
              <a:gd name="T50" fmla="*/ 227 w 370"/>
              <a:gd name="T51" fmla="*/ 425 h 431"/>
              <a:gd name="T52" fmla="*/ 164 w 370"/>
              <a:gd name="T53" fmla="*/ 411 h 431"/>
              <a:gd name="T54" fmla="*/ 121 w 370"/>
              <a:gd name="T55" fmla="*/ 406 h 431"/>
              <a:gd name="T56" fmla="*/ 65 w 370"/>
              <a:gd name="T57" fmla="*/ 416 h 431"/>
              <a:gd name="T58" fmla="*/ 0 w 370"/>
              <a:gd name="T59" fmla="*/ 362 h 431"/>
              <a:gd name="T60" fmla="*/ 42 w 370"/>
              <a:gd name="T61" fmla="*/ 330 h 431"/>
              <a:gd name="T62" fmla="*/ 68 w 370"/>
              <a:gd name="T63" fmla="*/ 287 h 431"/>
              <a:gd name="T64" fmla="*/ 72 w 370"/>
              <a:gd name="T65" fmla="*/ 255 h 431"/>
              <a:gd name="T66" fmla="*/ 0 w 370"/>
              <a:gd name="T67" fmla="*/ 247 h 431"/>
              <a:gd name="T68" fmla="*/ 53 w 370"/>
              <a:gd name="T69" fmla="*/ 183 h 431"/>
              <a:gd name="T70" fmla="*/ 39 w 370"/>
              <a:gd name="T71" fmla="*/ 116 h 431"/>
              <a:gd name="T72" fmla="*/ 59 w 370"/>
              <a:gd name="T73" fmla="*/ 57 h 431"/>
              <a:gd name="T74" fmla="*/ 94 w 370"/>
              <a:gd name="T75" fmla="*/ 25 h 431"/>
              <a:gd name="T76" fmla="*/ 155 w 370"/>
              <a:gd name="T77" fmla="*/ 4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70" h="431">
                <a:moveTo>
                  <a:pt x="197" y="0"/>
                </a:moveTo>
                <a:lnTo>
                  <a:pt x="229" y="1"/>
                </a:lnTo>
                <a:lnTo>
                  <a:pt x="256" y="7"/>
                </a:lnTo>
                <a:lnTo>
                  <a:pt x="282" y="15"/>
                </a:lnTo>
                <a:lnTo>
                  <a:pt x="303" y="28"/>
                </a:lnTo>
                <a:lnTo>
                  <a:pt x="321" y="44"/>
                </a:lnTo>
                <a:lnTo>
                  <a:pt x="335" y="63"/>
                </a:lnTo>
                <a:lnTo>
                  <a:pt x="345" y="84"/>
                </a:lnTo>
                <a:lnTo>
                  <a:pt x="351" y="109"/>
                </a:lnTo>
                <a:lnTo>
                  <a:pt x="260" y="120"/>
                </a:lnTo>
                <a:lnTo>
                  <a:pt x="255" y="102"/>
                </a:lnTo>
                <a:lnTo>
                  <a:pt x="246" y="87"/>
                </a:lnTo>
                <a:lnTo>
                  <a:pt x="236" y="77"/>
                </a:lnTo>
                <a:lnTo>
                  <a:pt x="217" y="67"/>
                </a:lnTo>
                <a:lnTo>
                  <a:pt x="194" y="63"/>
                </a:lnTo>
                <a:lnTo>
                  <a:pt x="177" y="66"/>
                </a:lnTo>
                <a:lnTo>
                  <a:pt x="163" y="70"/>
                </a:lnTo>
                <a:lnTo>
                  <a:pt x="150" y="79"/>
                </a:lnTo>
                <a:lnTo>
                  <a:pt x="140" y="90"/>
                </a:lnTo>
                <a:lnTo>
                  <a:pt x="134" y="102"/>
                </a:lnTo>
                <a:lnTo>
                  <a:pt x="131" y="117"/>
                </a:lnTo>
                <a:lnTo>
                  <a:pt x="132" y="130"/>
                </a:lnTo>
                <a:lnTo>
                  <a:pt x="137" y="148"/>
                </a:lnTo>
                <a:lnTo>
                  <a:pt x="148" y="183"/>
                </a:lnTo>
                <a:lnTo>
                  <a:pt x="253" y="183"/>
                </a:lnTo>
                <a:lnTo>
                  <a:pt x="253" y="247"/>
                </a:lnTo>
                <a:lnTo>
                  <a:pt x="164" y="247"/>
                </a:lnTo>
                <a:lnTo>
                  <a:pt x="165" y="260"/>
                </a:lnTo>
                <a:lnTo>
                  <a:pt x="163" y="281"/>
                </a:lnTo>
                <a:lnTo>
                  <a:pt x="154" y="301"/>
                </a:lnTo>
                <a:lnTo>
                  <a:pt x="145" y="314"/>
                </a:lnTo>
                <a:lnTo>
                  <a:pt x="131" y="332"/>
                </a:lnTo>
                <a:lnTo>
                  <a:pt x="114" y="350"/>
                </a:lnTo>
                <a:lnTo>
                  <a:pt x="134" y="344"/>
                </a:lnTo>
                <a:lnTo>
                  <a:pt x="160" y="343"/>
                </a:lnTo>
                <a:lnTo>
                  <a:pt x="171" y="343"/>
                </a:lnTo>
                <a:lnTo>
                  <a:pt x="181" y="344"/>
                </a:lnTo>
                <a:lnTo>
                  <a:pt x="190" y="346"/>
                </a:lnTo>
                <a:lnTo>
                  <a:pt x="209" y="349"/>
                </a:lnTo>
                <a:lnTo>
                  <a:pt x="233" y="355"/>
                </a:lnTo>
                <a:lnTo>
                  <a:pt x="252" y="357"/>
                </a:lnTo>
                <a:lnTo>
                  <a:pt x="265" y="359"/>
                </a:lnTo>
                <a:lnTo>
                  <a:pt x="283" y="356"/>
                </a:lnTo>
                <a:lnTo>
                  <a:pt x="306" y="352"/>
                </a:lnTo>
                <a:lnTo>
                  <a:pt x="334" y="342"/>
                </a:lnTo>
                <a:lnTo>
                  <a:pt x="370" y="411"/>
                </a:lnTo>
                <a:lnTo>
                  <a:pt x="349" y="418"/>
                </a:lnTo>
                <a:lnTo>
                  <a:pt x="325" y="424"/>
                </a:lnTo>
                <a:lnTo>
                  <a:pt x="301" y="428"/>
                </a:lnTo>
                <a:lnTo>
                  <a:pt x="276" y="429"/>
                </a:lnTo>
                <a:lnTo>
                  <a:pt x="255" y="428"/>
                </a:lnTo>
                <a:lnTo>
                  <a:pt x="227" y="425"/>
                </a:lnTo>
                <a:lnTo>
                  <a:pt x="196" y="418"/>
                </a:lnTo>
                <a:lnTo>
                  <a:pt x="164" y="411"/>
                </a:lnTo>
                <a:lnTo>
                  <a:pt x="140" y="406"/>
                </a:lnTo>
                <a:lnTo>
                  <a:pt x="121" y="406"/>
                </a:lnTo>
                <a:lnTo>
                  <a:pt x="92" y="408"/>
                </a:lnTo>
                <a:lnTo>
                  <a:pt x="65" y="416"/>
                </a:lnTo>
                <a:lnTo>
                  <a:pt x="36" y="431"/>
                </a:lnTo>
                <a:lnTo>
                  <a:pt x="0" y="362"/>
                </a:lnTo>
                <a:lnTo>
                  <a:pt x="23" y="346"/>
                </a:lnTo>
                <a:lnTo>
                  <a:pt x="42" y="330"/>
                </a:lnTo>
                <a:lnTo>
                  <a:pt x="55" y="313"/>
                </a:lnTo>
                <a:lnTo>
                  <a:pt x="68" y="287"/>
                </a:lnTo>
                <a:lnTo>
                  <a:pt x="72" y="263"/>
                </a:lnTo>
                <a:lnTo>
                  <a:pt x="72" y="255"/>
                </a:lnTo>
                <a:lnTo>
                  <a:pt x="71" y="247"/>
                </a:lnTo>
                <a:lnTo>
                  <a:pt x="0" y="247"/>
                </a:lnTo>
                <a:lnTo>
                  <a:pt x="0" y="183"/>
                </a:lnTo>
                <a:lnTo>
                  <a:pt x="53" y="183"/>
                </a:lnTo>
                <a:lnTo>
                  <a:pt x="43" y="150"/>
                </a:lnTo>
                <a:lnTo>
                  <a:pt x="39" y="116"/>
                </a:lnTo>
                <a:lnTo>
                  <a:pt x="45" y="86"/>
                </a:lnTo>
                <a:lnTo>
                  <a:pt x="59" y="57"/>
                </a:lnTo>
                <a:lnTo>
                  <a:pt x="75" y="40"/>
                </a:lnTo>
                <a:lnTo>
                  <a:pt x="94" y="25"/>
                </a:lnTo>
                <a:lnTo>
                  <a:pt x="117" y="14"/>
                </a:lnTo>
                <a:lnTo>
                  <a:pt x="155" y="4"/>
                </a:lnTo>
                <a:lnTo>
                  <a:pt x="19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6592995" y="2841637"/>
            <a:ext cx="993296" cy="1081476"/>
          </a:xfrm>
          <a:custGeom>
            <a:avLst/>
            <a:gdLst>
              <a:gd name="T0" fmla="*/ 0 w 383"/>
              <a:gd name="T1" fmla="*/ 0 h 417"/>
              <a:gd name="T2" fmla="*/ 105 w 383"/>
              <a:gd name="T3" fmla="*/ 0 h 417"/>
              <a:gd name="T4" fmla="*/ 173 w 383"/>
              <a:gd name="T5" fmla="*/ 120 h 417"/>
              <a:gd name="T6" fmla="*/ 184 w 383"/>
              <a:gd name="T7" fmla="*/ 142 h 417"/>
              <a:gd name="T8" fmla="*/ 191 w 383"/>
              <a:gd name="T9" fmla="*/ 161 h 417"/>
              <a:gd name="T10" fmla="*/ 199 w 383"/>
              <a:gd name="T11" fmla="*/ 142 h 417"/>
              <a:gd name="T12" fmla="*/ 209 w 383"/>
              <a:gd name="T13" fmla="*/ 120 h 417"/>
              <a:gd name="T14" fmla="*/ 278 w 383"/>
              <a:gd name="T15" fmla="*/ 0 h 417"/>
              <a:gd name="T16" fmla="*/ 383 w 383"/>
              <a:gd name="T17" fmla="*/ 0 h 417"/>
              <a:gd name="T18" fmla="*/ 276 w 383"/>
              <a:gd name="T19" fmla="*/ 179 h 417"/>
              <a:gd name="T20" fmla="*/ 365 w 383"/>
              <a:gd name="T21" fmla="*/ 179 h 417"/>
              <a:gd name="T22" fmla="*/ 365 w 383"/>
              <a:gd name="T23" fmla="*/ 241 h 417"/>
              <a:gd name="T24" fmla="*/ 237 w 383"/>
              <a:gd name="T25" fmla="*/ 241 h 417"/>
              <a:gd name="T26" fmla="*/ 237 w 383"/>
              <a:gd name="T27" fmla="*/ 276 h 417"/>
              <a:gd name="T28" fmla="*/ 365 w 383"/>
              <a:gd name="T29" fmla="*/ 276 h 417"/>
              <a:gd name="T30" fmla="*/ 365 w 383"/>
              <a:gd name="T31" fmla="*/ 339 h 417"/>
              <a:gd name="T32" fmla="*/ 237 w 383"/>
              <a:gd name="T33" fmla="*/ 339 h 417"/>
              <a:gd name="T34" fmla="*/ 237 w 383"/>
              <a:gd name="T35" fmla="*/ 417 h 417"/>
              <a:gd name="T36" fmla="*/ 143 w 383"/>
              <a:gd name="T37" fmla="*/ 417 h 417"/>
              <a:gd name="T38" fmla="*/ 143 w 383"/>
              <a:gd name="T39" fmla="*/ 339 h 417"/>
              <a:gd name="T40" fmla="*/ 17 w 383"/>
              <a:gd name="T41" fmla="*/ 339 h 417"/>
              <a:gd name="T42" fmla="*/ 17 w 383"/>
              <a:gd name="T43" fmla="*/ 276 h 417"/>
              <a:gd name="T44" fmla="*/ 143 w 383"/>
              <a:gd name="T45" fmla="*/ 276 h 417"/>
              <a:gd name="T46" fmla="*/ 143 w 383"/>
              <a:gd name="T47" fmla="*/ 241 h 417"/>
              <a:gd name="T48" fmla="*/ 17 w 383"/>
              <a:gd name="T49" fmla="*/ 241 h 417"/>
              <a:gd name="T50" fmla="*/ 17 w 383"/>
              <a:gd name="T51" fmla="*/ 179 h 417"/>
              <a:gd name="T52" fmla="*/ 107 w 383"/>
              <a:gd name="T53" fmla="*/ 179 h 417"/>
              <a:gd name="T54" fmla="*/ 0 w 383"/>
              <a:gd name="T5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83" h="417">
                <a:moveTo>
                  <a:pt x="0" y="0"/>
                </a:moveTo>
                <a:lnTo>
                  <a:pt x="105" y="0"/>
                </a:lnTo>
                <a:lnTo>
                  <a:pt x="173" y="120"/>
                </a:lnTo>
                <a:lnTo>
                  <a:pt x="184" y="142"/>
                </a:lnTo>
                <a:lnTo>
                  <a:pt x="191" y="161"/>
                </a:lnTo>
                <a:lnTo>
                  <a:pt x="199" y="142"/>
                </a:lnTo>
                <a:lnTo>
                  <a:pt x="209" y="120"/>
                </a:lnTo>
                <a:lnTo>
                  <a:pt x="278" y="0"/>
                </a:lnTo>
                <a:lnTo>
                  <a:pt x="383" y="0"/>
                </a:lnTo>
                <a:lnTo>
                  <a:pt x="276" y="179"/>
                </a:lnTo>
                <a:lnTo>
                  <a:pt x="365" y="179"/>
                </a:lnTo>
                <a:lnTo>
                  <a:pt x="365" y="241"/>
                </a:lnTo>
                <a:lnTo>
                  <a:pt x="237" y="241"/>
                </a:lnTo>
                <a:lnTo>
                  <a:pt x="237" y="276"/>
                </a:lnTo>
                <a:lnTo>
                  <a:pt x="365" y="276"/>
                </a:lnTo>
                <a:lnTo>
                  <a:pt x="365" y="339"/>
                </a:lnTo>
                <a:lnTo>
                  <a:pt x="237" y="339"/>
                </a:lnTo>
                <a:lnTo>
                  <a:pt x="237" y="417"/>
                </a:lnTo>
                <a:lnTo>
                  <a:pt x="143" y="417"/>
                </a:lnTo>
                <a:lnTo>
                  <a:pt x="143" y="339"/>
                </a:lnTo>
                <a:lnTo>
                  <a:pt x="17" y="339"/>
                </a:lnTo>
                <a:lnTo>
                  <a:pt x="17" y="276"/>
                </a:lnTo>
                <a:lnTo>
                  <a:pt x="143" y="276"/>
                </a:lnTo>
                <a:lnTo>
                  <a:pt x="143" y="241"/>
                </a:lnTo>
                <a:lnTo>
                  <a:pt x="17" y="241"/>
                </a:lnTo>
                <a:lnTo>
                  <a:pt x="17" y="179"/>
                </a:lnTo>
                <a:lnTo>
                  <a:pt x="107" y="17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66"/>
          <p:cNvSpPr>
            <a:spLocks noEditPoints="1"/>
          </p:cNvSpPr>
          <p:nvPr/>
        </p:nvSpPr>
        <p:spPr bwMode="auto">
          <a:xfrm>
            <a:off x="4612909" y="2724930"/>
            <a:ext cx="858436" cy="1314890"/>
          </a:xfrm>
          <a:custGeom>
            <a:avLst/>
            <a:gdLst>
              <a:gd name="T0" fmla="*/ 191 w 331"/>
              <a:gd name="T1" fmla="*/ 392 h 507"/>
              <a:gd name="T2" fmla="*/ 233 w 331"/>
              <a:gd name="T3" fmla="*/ 372 h 507"/>
              <a:gd name="T4" fmla="*/ 249 w 331"/>
              <a:gd name="T5" fmla="*/ 335 h 507"/>
              <a:gd name="T6" fmla="*/ 236 w 331"/>
              <a:gd name="T7" fmla="*/ 301 h 507"/>
              <a:gd name="T8" fmla="*/ 210 w 331"/>
              <a:gd name="T9" fmla="*/ 287 h 507"/>
              <a:gd name="T10" fmla="*/ 142 w 331"/>
              <a:gd name="T11" fmla="*/ 89 h 507"/>
              <a:gd name="T12" fmla="*/ 111 w 331"/>
              <a:gd name="T13" fmla="*/ 109 h 507"/>
              <a:gd name="T14" fmla="*/ 99 w 331"/>
              <a:gd name="T15" fmla="*/ 139 h 507"/>
              <a:gd name="T16" fmla="*/ 109 w 331"/>
              <a:gd name="T17" fmla="*/ 166 h 507"/>
              <a:gd name="T18" fmla="*/ 142 w 331"/>
              <a:gd name="T19" fmla="*/ 188 h 507"/>
              <a:gd name="T20" fmla="*/ 142 w 331"/>
              <a:gd name="T21" fmla="*/ 0 h 507"/>
              <a:gd name="T22" fmla="*/ 191 w 331"/>
              <a:gd name="T23" fmla="*/ 27 h 507"/>
              <a:gd name="T24" fmla="*/ 253 w 331"/>
              <a:gd name="T25" fmla="*/ 43 h 507"/>
              <a:gd name="T26" fmla="*/ 296 w 331"/>
              <a:gd name="T27" fmla="*/ 77 h 507"/>
              <a:gd name="T28" fmla="*/ 318 w 331"/>
              <a:gd name="T29" fmla="*/ 126 h 507"/>
              <a:gd name="T30" fmla="*/ 224 w 331"/>
              <a:gd name="T31" fmla="*/ 116 h 507"/>
              <a:gd name="T32" fmla="*/ 191 w 331"/>
              <a:gd name="T33" fmla="*/ 90 h 507"/>
              <a:gd name="T34" fmla="*/ 228 w 331"/>
              <a:gd name="T35" fmla="*/ 211 h 507"/>
              <a:gd name="T36" fmla="*/ 283 w 331"/>
              <a:gd name="T37" fmla="*/ 235 h 507"/>
              <a:gd name="T38" fmla="*/ 318 w 331"/>
              <a:gd name="T39" fmla="*/ 270 h 507"/>
              <a:gd name="T40" fmla="*/ 331 w 331"/>
              <a:gd name="T41" fmla="*/ 324 h 507"/>
              <a:gd name="T42" fmla="*/ 322 w 331"/>
              <a:gd name="T43" fmla="*/ 372 h 507"/>
              <a:gd name="T44" fmla="*/ 295 w 331"/>
              <a:gd name="T45" fmla="*/ 411 h 507"/>
              <a:gd name="T46" fmla="*/ 250 w 331"/>
              <a:gd name="T47" fmla="*/ 439 h 507"/>
              <a:gd name="T48" fmla="*/ 191 w 331"/>
              <a:gd name="T49" fmla="*/ 454 h 507"/>
              <a:gd name="T50" fmla="*/ 142 w 331"/>
              <a:gd name="T51" fmla="*/ 507 h 507"/>
              <a:gd name="T52" fmla="*/ 106 w 331"/>
              <a:gd name="T53" fmla="*/ 450 h 507"/>
              <a:gd name="T54" fmla="*/ 47 w 331"/>
              <a:gd name="T55" fmla="*/ 419 h 507"/>
              <a:gd name="T56" fmla="*/ 10 w 331"/>
              <a:gd name="T57" fmla="*/ 368 h 507"/>
              <a:gd name="T58" fmla="*/ 89 w 331"/>
              <a:gd name="T59" fmla="*/ 324 h 507"/>
              <a:gd name="T60" fmla="*/ 109 w 331"/>
              <a:gd name="T61" fmla="*/ 363 h 507"/>
              <a:gd name="T62" fmla="*/ 142 w 331"/>
              <a:gd name="T63" fmla="*/ 388 h 507"/>
              <a:gd name="T64" fmla="*/ 102 w 331"/>
              <a:gd name="T65" fmla="*/ 255 h 507"/>
              <a:gd name="T66" fmla="*/ 45 w 331"/>
              <a:gd name="T67" fmla="*/ 221 h 507"/>
              <a:gd name="T68" fmla="*/ 17 w 331"/>
              <a:gd name="T69" fmla="*/ 171 h 507"/>
              <a:gd name="T70" fmla="*/ 19 w 331"/>
              <a:gd name="T71" fmla="*/ 113 h 507"/>
              <a:gd name="T72" fmla="*/ 49 w 331"/>
              <a:gd name="T73" fmla="*/ 64 h 507"/>
              <a:gd name="T74" fmla="*/ 106 w 331"/>
              <a:gd name="T75" fmla="*/ 34 h 507"/>
              <a:gd name="T76" fmla="*/ 142 w 331"/>
              <a:gd name="T77" fmla="*/ 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1" h="507">
                <a:moveTo>
                  <a:pt x="191" y="281"/>
                </a:moveTo>
                <a:lnTo>
                  <a:pt x="191" y="392"/>
                </a:lnTo>
                <a:lnTo>
                  <a:pt x="214" y="385"/>
                </a:lnTo>
                <a:lnTo>
                  <a:pt x="233" y="372"/>
                </a:lnTo>
                <a:lnTo>
                  <a:pt x="244" y="355"/>
                </a:lnTo>
                <a:lnTo>
                  <a:pt x="249" y="335"/>
                </a:lnTo>
                <a:lnTo>
                  <a:pt x="246" y="317"/>
                </a:lnTo>
                <a:lnTo>
                  <a:pt x="236" y="301"/>
                </a:lnTo>
                <a:lnTo>
                  <a:pt x="224" y="293"/>
                </a:lnTo>
                <a:lnTo>
                  <a:pt x="210" y="287"/>
                </a:lnTo>
                <a:lnTo>
                  <a:pt x="191" y="281"/>
                </a:lnTo>
                <a:close/>
                <a:moveTo>
                  <a:pt x="142" y="89"/>
                </a:moveTo>
                <a:lnTo>
                  <a:pt x="125" y="97"/>
                </a:lnTo>
                <a:lnTo>
                  <a:pt x="111" y="109"/>
                </a:lnTo>
                <a:lnTo>
                  <a:pt x="102" y="123"/>
                </a:lnTo>
                <a:lnTo>
                  <a:pt x="99" y="139"/>
                </a:lnTo>
                <a:lnTo>
                  <a:pt x="102" y="153"/>
                </a:lnTo>
                <a:lnTo>
                  <a:pt x="109" y="166"/>
                </a:lnTo>
                <a:lnTo>
                  <a:pt x="124" y="178"/>
                </a:lnTo>
                <a:lnTo>
                  <a:pt x="142" y="188"/>
                </a:lnTo>
                <a:lnTo>
                  <a:pt x="142" y="89"/>
                </a:lnTo>
                <a:close/>
                <a:moveTo>
                  <a:pt x="142" y="0"/>
                </a:moveTo>
                <a:lnTo>
                  <a:pt x="191" y="0"/>
                </a:lnTo>
                <a:lnTo>
                  <a:pt x="191" y="27"/>
                </a:lnTo>
                <a:lnTo>
                  <a:pt x="224" y="33"/>
                </a:lnTo>
                <a:lnTo>
                  <a:pt x="253" y="43"/>
                </a:lnTo>
                <a:lnTo>
                  <a:pt x="277" y="59"/>
                </a:lnTo>
                <a:lnTo>
                  <a:pt x="296" y="77"/>
                </a:lnTo>
                <a:lnTo>
                  <a:pt x="309" y="100"/>
                </a:lnTo>
                <a:lnTo>
                  <a:pt x="318" y="126"/>
                </a:lnTo>
                <a:lnTo>
                  <a:pt x="231" y="136"/>
                </a:lnTo>
                <a:lnTo>
                  <a:pt x="224" y="116"/>
                </a:lnTo>
                <a:lnTo>
                  <a:pt x="210" y="100"/>
                </a:lnTo>
                <a:lnTo>
                  <a:pt x="191" y="90"/>
                </a:lnTo>
                <a:lnTo>
                  <a:pt x="191" y="201"/>
                </a:lnTo>
                <a:lnTo>
                  <a:pt x="228" y="211"/>
                </a:lnTo>
                <a:lnTo>
                  <a:pt x="260" y="222"/>
                </a:lnTo>
                <a:lnTo>
                  <a:pt x="283" y="235"/>
                </a:lnTo>
                <a:lnTo>
                  <a:pt x="302" y="250"/>
                </a:lnTo>
                <a:lnTo>
                  <a:pt x="318" y="270"/>
                </a:lnTo>
                <a:lnTo>
                  <a:pt x="328" y="296"/>
                </a:lnTo>
                <a:lnTo>
                  <a:pt x="331" y="324"/>
                </a:lnTo>
                <a:lnTo>
                  <a:pt x="329" y="349"/>
                </a:lnTo>
                <a:lnTo>
                  <a:pt x="322" y="372"/>
                </a:lnTo>
                <a:lnTo>
                  <a:pt x="310" y="392"/>
                </a:lnTo>
                <a:lnTo>
                  <a:pt x="295" y="411"/>
                </a:lnTo>
                <a:lnTo>
                  <a:pt x="274" y="427"/>
                </a:lnTo>
                <a:lnTo>
                  <a:pt x="250" y="439"/>
                </a:lnTo>
                <a:lnTo>
                  <a:pt x="223" y="448"/>
                </a:lnTo>
                <a:lnTo>
                  <a:pt x="191" y="454"/>
                </a:lnTo>
                <a:lnTo>
                  <a:pt x="191" y="507"/>
                </a:lnTo>
                <a:lnTo>
                  <a:pt x="142" y="507"/>
                </a:lnTo>
                <a:lnTo>
                  <a:pt x="142" y="455"/>
                </a:lnTo>
                <a:lnTo>
                  <a:pt x="106" y="450"/>
                </a:lnTo>
                <a:lnTo>
                  <a:pt x="75" y="437"/>
                </a:lnTo>
                <a:lnTo>
                  <a:pt x="47" y="419"/>
                </a:lnTo>
                <a:lnTo>
                  <a:pt x="26" y="396"/>
                </a:lnTo>
                <a:lnTo>
                  <a:pt x="10" y="368"/>
                </a:lnTo>
                <a:lnTo>
                  <a:pt x="0" y="333"/>
                </a:lnTo>
                <a:lnTo>
                  <a:pt x="89" y="324"/>
                </a:lnTo>
                <a:lnTo>
                  <a:pt x="96" y="346"/>
                </a:lnTo>
                <a:lnTo>
                  <a:pt x="109" y="363"/>
                </a:lnTo>
                <a:lnTo>
                  <a:pt x="125" y="378"/>
                </a:lnTo>
                <a:lnTo>
                  <a:pt x="142" y="388"/>
                </a:lnTo>
                <a:lnTo>
                  <a:pt x="142" y="268"/>
                </a:lnTo>
                <a:lnTo>
                  <a:pt x="102" y="255"/>
                </a:lnTo>
                <a:lnTo>
                  <a:pt x="69" y="240"/>
                </a:lnTo>
                <a:lnTo>
                  <a:pt x="45" y="221"/>
                </a:lnTo>
                <a:lnTo>
                  <a:pt x="27" y="198"/>
                </a:lnTo>
                <a:lnTo>
                  <a:pt x="17" y="171"/>
                </a:lnTo>
                <a:lnTo>
                  <a:pt x="14" y="142"/>
                </a:lnTo>
                <a:lnTo>
                  <a:pt x="19" y="113"/>
                </a:lnTo>
                <a:lnTo>
                  <a:pt x="30" y="87"/>
                </a:lnTo>
                <a:lnTo>
                  <a:pt x="49" y="64"/>
                </a:lnTo>
                <a:lnTo>
                  <a:pt x="75" y="46"/>
                </a:lnTo>
                <a:lnTo>
                  <a:pt x="106" y="34"/>
                </a:lnTo>
                <a:lnTo>
                  <a:pt x="142" y="27"/>
                </a:lnTo>
                <a:lnTo>
                  <a:pt x="14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2521303" y="2823483"/>
            <a:ext cx="969956" cy="1117784"/>
          </a:xfrm>
          <a:custGeom>
            <a:avLst/>
            <a:gdLst>
              <a:gd name="T0" fmla="*/ 275 w 374"/>
              <a:gd name="T1" fmla="*/ 0 h 431"/>
              <a:gd name="T2" fmla="*/ 311 w 374"/>
              <a:gd name="T3" fmla="*/ 1 h 431"/>
              <a:gd name="T4" fmla="*/ 344 w 374"/>
              <a:gd name="T5" fmla="*/ 7 h 431"/>
              <a:gd name="T6" fmla="*/ 374 w 374"/>
              <a:gd name="T7" fmla="*/ 17 h 431"/>
              <a:gd name="T8" fmla="*/ 354 w 374"/>
              <a:gd name="T9" fmla="*/ 96 h 431"/>
              <a:gd name="T10" fmla="*/ 332 w 374"/>
              <a:gd name="T11" fmla="*/ 83 h 431"/>
              <a:gd name="T12" fmla="*/ 303 w 374"/>
              <a:gd name="T13" fmla="*/ 74 h 431"/>
              <a:gd name="T14" fmla="*/ 270 w 374"/>
              <a:gd name="T15" fmla="*/ 71 h 431"/>
              <a:gd name="T16" fmla="*/ 243 w 374"/>
              <a:gd name="T17" fmla="*/ 74 h 431"/>
              <a:gd name="T18" fmla="*/ 220 w 374"/>
              <a:gd name="T19" fmla="*/ 80 h 431"/>
              <a:gd name="T20" fmla="*/ 198 w 374"/>
              <a:gd name="T21" fmla="*/ 90 h 431"/>
              <a:gd name="T22" fmla="*/ 181 w 374"/>
              <a:gd name="T23" fmla="*/ 104 h 431"/>
              <a:gd name="T24" fmla="*/ 164 w 374"/>
              <a:gd name="T25" fmla="*/ 126 h 431"/>
              <a:gd name="T26" fmla="*/ 154 w 374"/>
              <a:gd name="T27" fmla="*/ 152 h 431"/>
              <a:gd name="T28" fmla="*/ 339 w 374"/>
              <a:gd name="T29" fmla="*/ 152 h 431"/>
              <a:gd name="T30" fmla="*/ 328 w 374"/>
              <a:gd name="T31" fmla="*/ 195 h 431"/>
              <a:gd name="T32" fmla="*/ 147 w 374"/>
              <a:gd name="T33" fmla="*/ 195 h 431"/>
              <a:gd name="T34" fmla="*/ 147 w 374"/>
              <a:gd name="T35" fmla="*/ 204 h 431"/>
              <a:gd name="T36" fmla="*/ 147 w 374"/>
              <a:gd name="T37" fmla="*/ 212 h 431"/>
              <a:gd name="T38" fmla="*/ 147 w 374"/>
              <a:gd name="T39" fmla="*/ 222 h 431"/>
              <a:gd name="T40" fmla="*/ 147 w 374"/>
              <a:gd name="T41" fmla="*/ 234 h 431"/>
              <a:gd name="T42" fmla="*/ 319 w 374"/>
              <a:gd name="T43" fmla="*/ 234 h 431"/>
              <a:gd name="T44" fmla="*/ 308 w 374"/>
              <a:gd name="T45" fmla="*/ 277 h 431"/>
              <a:gd name="T46" fmla="*/ 154 w 374"/>
              <a:gd name="T47" fmla="*/ 277 h 431"/>
              <a:gd name="T48" fmla="*/ 164 w 374"/>
              <a:gd name="T49" fmla="*/ 304 h 431"/>
              <a:gd name="T50" fmla="*/ 180 w 374"/>
              <a:gd name="T51" fmla="*/ 324 h 431"/>
              <a:gd name="T52" fmla="*/ 198 w 374"/>
              <a:gd name="T53" fmla="*/ 340 h 431"/>
              <a:gd name="T54" fmla="*/ 219 w 374"/>
              <a:gd name="T55" fmla="*/ 350 h 431"/>
              <a:gd name="T56" fmla="*/ 242 w 374"/>
              <a:gd name="T57" fmla="*/ 356 h 431"/>
              <a:gd name="T58" fmla="*/ 267 w 374"/>
              <a:gd name="T59" fmla="*/ 359 h 431"/>
              <a:gd name="T60" fmla="*/ 299 w 374"/>
              <a:gd name="T61" fmla="*/ 356 h 431"/>
              <a:gd name="T62" fmla="*/ 326 w 374"/>
              <a:gd name="T63" fmla="*/ 350 h 431"/>
              <a:gd name="T64" fmla="*/ 351 w 374"/>
              <a:gd name="T65" fmla="*/ 340 h 431"/>
              <a:gd name="T66" fmla="*/ 371 w 374"/>
              <a:gd name="T67" fmla="*/ 324 h 431"/>
              <a:gd name="T68" fmla="*/ 371 w 374"/>
              <a:gd name="T69" fmla="*/ 412 h 431"/>
              <a:gd name="T70" fmla="*/ 341 w 374"/>
              <a:gd name="T71" fmla="*/ 422 h 431"/>
              <a:gd name="T72" fmla="*/ 306 w 374"/>
              <a:gd name="T73" fmla="*/ 428 h 431"/>
              <a:gd name="T74" fmla="*/ 269 w 374"/>
              <a:gd name="T75" fmla="*/ 431 h 431"/>
              <a:gd name="T76" fmla="*/ 230 w 374"/>
              <a:gd name="T77" fmla="*/ 428 h 431"/>
              <a:gd name="T78" fmla="*/ 196 w 374"/>
              <a:gd name="T79" fmla="*/ 421 h 431"/>
              <a:gd name="T80" fmla="*/ 162 w 374"/>
              <a:gd name="T81" fmla="*/ 411 h 431"/>
              <a:gd name="T82" fmla="*/ 134 w 374"/>
              <a:gd name="T83" fmla="*/ 393 h 431"/>
              <a:gd name="T84" fmla="*/ 106 w 374"/>
              <a:gd name="T85" fmla="*/ 373 h 431"/>
              <a:gd name="T86" fmla="*/ 81 w 374"/>
              <a:gd name="T87" fmla="*/ 346 h 431"/>
              <a:gd name="T88" fmla="*/ 62 w 374"/>
              <a:gd name="T89" fmla="*/ 313 h 431"/>
              <a:gd name="T90" fmla="*/ 49 w 374"/>
              <a:gd name="T91" fmla="*/ 277 h 431"/>
              <a:gd name="T92" fmla="*/ 0 w 374"/>
              <a:gd name="T93" fmla="*/ 277 h 431"/>
              <a:gd name="T94" fmla="*/ 10 w 374"/>
              <a:gd name="T95" fmla="*/ 234 h 431"/>
              <a:gd name="T96" fmla="*/ 43 w 374"/>
              <a:gd name="T97" fmla="*/ 234 h 431"/>
              <a:gd name="T98" fmla="*/ 43 w 374"/>
              <a:gd name="T99" fmla="*/ 218 h 431"/>
              <a:gd name="T100" fmla="*/ 43 w 374"/>
              <a:gd name="T101" fmla="*/ 195 h 431"/>
              <a:gd name="T102" fmla="*/ 0 w 374"/>
              <a:gd name="T103" fmla="*/ 195 h 431"/>
              <a:gd name="T104" fmla="*/ 10 w 374"/>
              <a:gd name="T105" fmla="*/ 152 h 431"/>
              <a:gd name="T106" fmla="*/ 50 w 374"/>
              <a:gd name="T107" fmla="*/ 152 h 431"/>
              <a:gd name="T108" fmla="*/ 63 w 374"/>
              <a:gd name="T109" fmla="*/ 116 h 431"/>
              <a:gd name="T110" fmla="*/ 82 w 374"/>
              <a:gd name="T111" fmla="*/ 84 h 431"/>
              <a:gd name="T112" fmla="*/ 106 w 374"/>
              <a:gd name="T113" fmla="*/ 57 h 431"/>
              <a:gd name="T114" fmla="*/ 134 w 374"/>
              <a:gd name="T115" fmla="*/ 37 h 431"/>
              <a:gd name="T116" fmla="*/ 164 w 374"/>
              <a:gd name="T117" fmla="*/ 20 h 431"/>
              <a:gd name="T118" fmla="*/ 198 w 374"/>
              <a:gd name="T119" fmla="*/ 8 h 431"/>
              <a:gd name="T120" fmla="*/ 234 w 374"/>
              <a:gd name="T121" fmla="*/ 2 h 431"/>
              <a:gd name="T122" fmla="*/ 275 w 374"/>
              <a:gd name="T123" fmla="*/ 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4" h="431">
                <a:moveTo>
                  <a:pt x="275" y="0"/>
                </a:moveTo>
                <a:lnTo>
                  <a:pt x="311" y="1"/>
                </a:lnTo>
                <a:lnTo>
                  <a:pt x="344" y="7"/>
                </a:lnTo>
                <a:lnTo>
                  <a:pt x="374" y="17"/>
                </a:lnTo>
                <a:lnTo>
                  <a:pt x="354" y="96"/>
                </a:lnTo>
                <a:lnTo>
                  <a:pt x="332" y="83"/>
                </a:lnTo>
                <a:lnTo>
                  <a:pt x="303" y="74"/>
                </a:lnTo>
                <a:lnTo>
                  <a:pt x="270" y="71"/>
                </a:lnTo>
                <a:lnTo>
                  <a:pt x="243" y="74"/>
                </a:lnTo>
                <a:lnTo>
                  <a:pt x="220" y="80"/>
                </a:lnTo>
                <a:lnTo>
                  <a:pt x="198" y="90"/>
                </a:lnTo>
                <a:lnTo>
                  <a:pt x="181" y="104"/>
                </a:lnTo>
                <a:lnTo>
                  <a:pt x="164" y="126"/>
                </a:lnTo>
                <a:lnTo>
                  <a:pt x="154" y="152"/>
                </a:lnTo>
                <a:lnTo>
                  <a:pt x="339" y="152"/>
                </a:lnTo>
                <a:lnTo>
                  <a:pt x="328" y="195"/>
                </a:lnTo>
                <a:lnTo>
                  <a:pt x="147" y="195"/>
                </a:lnTo>
                <a:lnTo>
                  <a:pt x="147" y="204"/>
                </a:lnTo>
                <a:lnTo>
                  <a:pt x="147" y="212"/>
                </a:lnTo>
                <a:lnTo>
                  <a:pt x="147" y="222"/>
                </a:lnTo>
                <a:lnTo>
                  <a:pt x="147" y="234"/>
                </a:lnTo>
                <a:lnTo>
                  <a:pt x="319" y="234"/>
                </a:lnTo>
                <a:lnTo>
                  <a:pt x="308" y="277"/>
                </a:lnTo>
                <a:lnTo>
                  <a:pt x="154" y="277"/>
                </a:lnTo>
                <a:lnTo>
                  <a:pt x="164" y="304"/>
                </a:lnTo>
                <a:lnTo>
                  <a:pt x="180" y="324"/>
                </a:lnTo>
                <a:lnTo>
                  <a:pt x="198" y="340"/>
                </a:lnTo>
                <a:lnTo>
                  <a:pt x="219" y="350"/>
                </a:lnTo>
                <a:lnTo>
                  <a:pt x="242" y="356"/>
                </a:lnTo>
                <a:lnTo>
                  <a:pt x="267" y="359"/>
                </a:lnTo>
                <a:lnTo>
                  <a:pt x="299" y="356"/>
                </a:lnTo>
                <a:lnTo>
                  <a:pt x="326" y="350"/>
                </a:lnTo>
                <a:lnTo>
                  <a:pt x="351" y="340"/>
                </a:lnTo>
                <a:lnTo>
                  <a:pt x="371" y="324"/>
                </a:lnTo>
                <a:lnTo>
                  <a:pt x="371" y="412"/>
                </a:lnTo>
                <a:lnTo>
                  <a:pt x="341" y="422"/>
                </a:lnTo>
                <a:lnTo>
                  <a:pt x="306" y="428"/>
                </a:lnTo>
                <a:lnTo>
                  <a:pt x="269" y="431"/>
                </a:lnTo>
                <a:lnTo>
                  <a:pt x="230" y="428"/>
                </a:lnTo>
                <a:lnTo>
                  <a:pt x="196" y="421"/>
                </a:lnTo>
                <a:lnTo>
                  <a:pt x="162" y="411"/>
                </a:lnTo>
                <a:lnTo>
                  <a:pt x="134" y="393"/>
                </a:lnTo>
                <a:lnTo>
                  <a:pt x="106" y="373"/>
                </a:lnTo>
                <a:lnTo>
                  <a:pt x="81" y="346"/>
                </a:lnTo>
                <a:lnTo>
                  <a:pt x="62" y="313"/>
                </a:lnTo>
                <a:lnTo>
                  <a:pt x="49" y="277"/>
                </a:lnTo>
                <a:lnTo>
                  <a:pt x="0" y="277"/>
                </a:lnTo>
                <a:lnTo>
                  <a:pt x="10" y="234"/>
                </a:lnTo>
                <a:lnTo>
                  <a:pt x="43" y="234"/>
                </a:lnTo>
                <a:lnTo>
                  <a:pt x="43" y="218"/>
                </a:lnTo>
                <a:lnTo>
                  <a:pt x="43" y="195"/>
                </a:lnTo>
                <a:lnTo>
                  <a:pt x="0" y="195"/>
                </a:lnTo>
                <a:lnTo>
                  <a:pt x="10" y="152"/>
                </a:lnTo>
                <a:lnTo>
                  <a:pt x="50" y="152"/>
                </a:lnTo>
                <a:lnTo>
                  <a:pt x="63" y="116"/>
                </a:lnTo>
                <a:lnTo>
                  <a:pt x="82" y="84"/>
                </a:lnTo>
                <a:lnTo>
                  <a:pt x="106" y="57"/>
                </a:lnTo>
                <a:lnTo>
                  <a:pt x="134" y="37"/>
                </a:lnTo>
                <a:lnTo>
                  <a:pt x="164" y="20"/>
                </a:lnTo>
                <a:lnTo>
                  <a:pt x="198" y="8"/>
                </a:lnTo>
                <a:lnTo>
                  <a:pt x="234" y="2"/>
                </a:lnTo>
                <a:lnTo>
                  <a:pt x="27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 flipH="1">
            <a:off x="4290670" y="5320650"/>
            <a:ext cx="3607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ection 3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0397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FB7D4B4-1B5E-4414-9E08-62E42666B8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06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E20C852-B50C-4D43-84C8-158C820361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cation Model – Approach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862894" y="1981201"/>
            <a:ext cx="8532425" cy="4927183"/>
            <a:chOff x="2862894" y="1981201"/>
            <a:chExt cx="8532425" cy="4927183"/>
          </a:xfrm>
        </p:grpSpPr>
        <p:sp>
          <p:nvSpPr>
            <p:cNvPr id="177" name="Freeform 176"/>
            <p:cNvSpPr/>
            <p:nvPr/>
          </p:nvSpPr>
          <p:spPr>
            <a:xfrm>
              <a:off x="2873829" y="2305666"/>
              <a:ext cx="8521490" cy="4602718"/>
            </a:xfrm>
            <a:custGeom>
              <a:avLst/>
              <a:gdLst>
                <a:gd name="connsiteX0" fmla="*/ 336331 w 9919138"/>
                <a:gd name="connsiteY0" fmla="*/ 575442 h 6734505"/>
                <a:gd name="connsiteX1" fmla="*/ 320566 w 9919138"/>
                <a:gd name="connsiteY1" fmla="*/ 3618187 h 6734505"/>
                <a:gd name="connsiteX2" fmla="*/ 2259724 w 9919138"/>
                <a:gd name="connsiteY2" fmla="*/ 5872656 h 6734505"/>
                <a:gd name="connsiteX3" fmla="*/ 9259614 w 9919138"/>
                <a:gd name="connsiteY3" fmla="*/ 5888422 h 6734505"/>
                <a:gd name="connsiteX4" fmla="*/ 6216869 w 9919138"/>
                <a:gd name="connsiteY4" fmla="*/ 796159 h 6734505"/>
                <a:gd name="connsiteX5" fmla="*/ 5964621 w 9919138"/>
                <a:gd name="connsiteY5" fmla="*/ 1111470 h 6734505"/>
                <a:gd name="connsiteX6" fmla="*/ 5412828 w 9919138"/>
                <a:gd name="connsiteY6" fmla="*/ 1679028 h 6734505"/>
                <a:gd name="connsiteX7" fmla="*/ 5097517 w 9919138"/>
                <a:gd name="connsiteY7" fmla="*/ 2041635 h 6734505"/>
                <a:gd name="connsiteX8" fmla="*/ 3820510 w 9919138"/>
                <a:gd name="connsiteY8" fmla="*/ 827690 h 6734505"/>
                <a:gd name="connsiteX9" fmla="*/ 1597572 w 9919138"/>
                <a:gd name="connsiteY9" fmla="*/ 1820918 h 6734505"/>
                <a:gd name="connsiteX10" fmla="*/ 336331 w 9919138"/>
                <a:gd name="connsiteY10" fmla="*/ 575442 h 6734505"/>
                <a:gd name="connsiteX0" fmla="*/ 336331 w 9919138"/>
                <a:gd name="connsiteY0" fmla="*/ 575442 h 6734505"/>
                <a:gd name="connsiteX1" fmla="*/ 320566 w 9919138"/>
                <a:gd name="connsiteY1" fmla="*/ 3618187 h 6734505"/>
                <a:gd name="connsiteX2" fmla="*/ 2259724 w 9919138"/>
                <a:gd name="connsiteY2" fmla="*/ 5872656 h 6734505"/>
                <a:gd name="connsiteX3" fmla="*/ 9259614 w 9919138"/>
                <a:gd name="connsiteY3" fmla="*/ 5888422 h 6734505"/>
                <a:gd name="connsiteX4" fmla="*/ 6216869 w 9919138"/>
                <a:gd name="connsiteY4" fmla="*/ 796159 h 6734505"/>
                <a:gd name="connsiteX5" fmla="*/ 5964621 w 9919138"/>
                <a:gd name="connsiteY5" fmla="*/ 1111470 h 6734505"/>
                <a:gd name="connsiteX6" fmla="*/ 5412828 w 9919138"/>
                <a:gd name="connsiteY6" fmla="*/ 1679028 h 6734505"/>
                <a:gd name="connsiteX7" fmla="*/ 5097517 w 9919138"/>
                <a:gd name="connsiteY7" fmla="*/ 2041635 h 6734505"/>
                <a:gd name="connsiteX8" fmla="*/ 3820510 w 9919138"/>
                <a:gd name="connsiteY8" fmla="*/ 827690 h 6734505"/>
                <a:gd name="connsiteX9" fmla="*/ 1597572 w 9919138"/>
                <a:gd name="connsiteY9" fmla="*/ 1820918 h 6734505"/>
                <a:gd name="connsiteX10" fmla="*/ 336331 w 9919138"/>
                <a:gd name="connsiteY10" fmla="*/ 575442 h 6734505"/>
                <a:gd name="connsiteX0" fmla="*/ 15765 w 9598572"/>
                <a:gd name="connsiteY0" fmla="*/ 575442 h 6734505"/>
                <a:gd name="connsiteX1" fmla="*/ 0 w 9598572"/>
                <a:gd name="connsiteY1" fmla="*/ 3618187 h 6734505"/>
                <a:gd name="connsiteX2" fmla="*/ 1939158 w 9598572"/>
                <a:gd name="connsiteY2" fmla="*/ 5872656 h 6734505"/>
                <a:gd name="connsiteX3" fmla="*/ 8939048 w 9598572"/>
                <a:gd name="connsiteY3" fmla="*/ 5888422 h 6734505"/>
                <a:gd name="connsiteX4" fmla="*/ 5896303 w 9598572"/>
                <a:gd name="connsiteY4" fmla="*/ 796159 h 6734505"/>
                <a:gd name="connsiteX5" fmla="*/ 5644055 w 9598572"/>
                <a:gd name="connsiteY5" fmla="*/ 1111470 h 6734505"/>
                <a:gd name="connsiteX6" fmla="*/ 5092262 w 9598572"/>
                <a:gd name="connsiteY6" fmla="*/ 1679028 h 6734505"/>
                <a:gd name="connsiteX7" fmla="*/ 4776951 w 9598572"/>
                <a:gd name="connsiteY7" fmla="*/ 2041635 h 6734505"/>
                <a:gd name="connsiteX8" fmla="*/ 3499944 w 9598572"/>
                <a:gd name="connsiteY8" fmla="*/ 827690 h 6734505"/>
                <a:gd name="connsiteX9" fmla="*/ 1277006 w 9598572"/>
                <a:gd name="connsiteY9" fmla="*/ 1820918 h 6734505"/>
                <a:gd name="connsiteX10" fmla="*/ 15765 w 9598572"/>
                <a:gd name="connsiteY10" fmla="*/ 575442 h 6734505"/>
                <a:gd name="connsiteX0" fmla="*/ 15765 w 9598572"/>
                <a:gd name="connsiteY0" fmla="*/ 575442 h 6734505"/>
                <a:gd name="connsiteX1" fmla="*/ 0 w 9598572"/>
                <a:gd name="connsiteY1" fmla="*/ 3618187 h 6734505"/>
                <a:gd name="connsiteX2" fmla="*/ 1939158 w 9598572"/>
                <a:gd name="connsiteY2" fmla="*/ 5872656 h 6734505"/>
                <a:gd name="connsiteX3" fmla="*/ 8939048 w 9598572"/>
                <a:gd name="connsiteY3" fmla="*/ 5888422 h 6734505"/>
                <a:gd name="connsiteX4" fmla="*/ 5896303 w 9598572"/>
                <a:gd name="connsiteY4" fmla="*/ 796159 h 6734505"/>
                <a:gd name="connsiteX5" fmla="*/ 5644055 w 9598572"/>
                <a:gd name="connsiteY5" fmla="*/ 1111470 h 6734505"/>
                <a:gd name="connsiteX6" fmla="*/ 5092262 w 9598572"/>
                <a:gd name="connsiteY6" fmla="*/ 1679028 h 6734505"/>
                <a:gd name="connsiteX7" fmla="*/ 4776951 w 9598572"/>
                <a:gd name="connsiteY7" fmla="*/ 2041635 h 6734505"/>
                <a:gd name="connsiteX8" fmla="*/ 3499944 w 9598572"/>
                <a:gd name="connsiteY8" fmla="*/ 827690 h 6734505"/>
                <a:gd name="connsiteX9" fmla="*/ 1277006 w 9598572"/>
                <a:gd name="connsiteY9" fmla="*/ 1820918 h 6734505"/>
                <a:gd name="connsiteX10" fmla="*/ 15765 w 9598572"/>
                <a:gd name="connsiteY10" fmla="*/ 575442 h 6734505"/>
                <a:gd name="connsiteX0" fmla="*/ 15765 w 9598572"/>
                <a:gd name="connsiteY0" fmla="*/ 575442 h 5888422"/>
                <a:gd name="connsiteX1" fmla="*/ 0 w 9598572"/>
                <a:gd name="connsiteY1" fmla="*/ 3618187 h 5888422"/>
                <a:gd name="connsiteX2" fmla="*/ 1939158 w 9598572"/>
                <a:gd name="connsiteY2" fmla="*/ 5872656 h 5888422"/>
                <a:gd name="connsiteX3" fmla="*/ 8939048 w 9598572"/>
                <a:gd name="connsiteY3" fmla="*/ 5888422 h 5888422"/>
                <a:gd name="connsiteX4" fmla="*/ 5896303 w 9598572"/>
                <a:gd name="connsiteY4" fmla="*/ 796159 h 5888422"/>
                <a:gd name="connsiteX5" fmla="*/ 5644055 w 9598572"/>
                <a:gd name="connsiteY5" fmla="*/ 1111470 h 5888422"/>
                <a:gd name="connsiteX6" fmla="*/ 5092262 w 9598572"/>
                <a:gd name="connsiteY6" fmla="*/ 1679028 h 5888422"/>
                <a:gd name="connsiteX7" fmla="*/ 4776951 w 9598572"/>
                <a:gd name="connsiteY7" fmla="*/ 2041635 h 5888422"/>
                <a:gd name="connsiteX8" fmla="*/ 3499944 w 9598572"/>
                <a:gd name="connsiteY8" fmla="*/ 827690 h 5888422"/>
                <a:gd name="connsiteX9" fmla="*/ 1277006 w 9598572"/>
                <a:gd name="connsiteY9" fmla="*/ 1820918 h 5888422"/>
                <a:gd name="connsiteX10" fmla="*/ 15765 w 9598572"/>
                <a:gd name="connsiteY10" fmla="*/ 575442 h 5888422"/>
                <a:gd name="connsiteX0" fmla="*/ 15765 w 8939048"/>
                <a:gd name="connsiteY0" fmla="*/ 575442 h 5888422"/>
                <a:gd name="connsiteX1" fmla="*/ 0 w 8939048"/>
                <a:gd name="connsiteY1" fmla="*/ 3618187 h 5888422"/>
                <a:gd name="connsiteX2" fmla="*/ 1939158 w 8939048"/>
                <a:gd name="connsiteY2" fmla="*/ 5872656 h 5888422"/>
                <a:gd name="connsiteX3" fmla="*/ 8939048 w 8939048"/>
                <a:gd name="connsiteY3" fmla="*/ 5888422 h 5888422"/>
                <a:gd name="connsiteX4" fmla="*/ 5896303 w 8939048"/>
                <a:gd name="connsiteY4" fmla="*/ 796159 h 5888422"/>
                <a:gd name="connsiteX5" fmla="*/ 5644055 w 8939048"/>
                <a:gd name="connsiteY5" fmla="*/ 1111470 h 5888422"/>
                <a:gd name="connsiteX6" fmla="*/ 5092262 w 8939048"/>
                <a:gd name="connsiteY6" fmla="*/ 1679028 h 5888422"/>
                <a:gd name="connsiteX7" fmla="*/ 4776951 w 8939048"/>
                <a:gd name="connsiteY7" fmla="*/ 2041635 h 5888422"/>
                <a:gd name="connsiteX8" fmla="*/ 3499944 w 8939048"/>
                <a:gd name="connsiteY8" fmla="*/ 827690 h 5888422"/>
                <a:gd name="connsiteX9" fmla="*/ 1277006 w 8939048"/>
                <a:gd name="connsiteY9" fmla="*/ 1820918 h 5888422"/>
                <a:gd name="connsiteX10" fmla="*/ 15765 w 8939048"/>
                <a:gd name="connsiteY10" fmla="*/ 575442 h 5888422"/>
                <a:gd name="connsiteX0" fmla="*/ 15765 w 8939048"/>
                <a:gd name="connsiteY0" fmla="*/ 0 h 5312980"/>
                <a:gd name="connsiteX1" fmla="*/ 0 w 8939048"/>
                <a:gd name="connsiteY1" fmla="*/ 3042745 h 5312980"/>
                <a:gd name="connsiteX2" fmla="*/ 1939158 w 8939048"/>
                <a:gd name="connsiteY2" fmla="*/ 5297214 h 5312980"/>
                <a:gd name="connsiteX3" fmla="*/ 8939048 w 8939048"/>
                <a:gd name="connsiteY3" fmla="*/ 5312980 h 5312980"/>
                <a:gd name="connsiteX4" fmla="*/ 5896303 w 8939048"/>
                <a:gd name="connsiteY4" fmla="*/ 220717 h 5312980"/>
                <a:gd name="connsiteX5" fmla="*/ 5644055 w 8939048"/>
                <a:gd name="connsiteY5" fmla="*/ 536028 h 5312980"/>
                <a:gd name="connsiteX6" fmla="*/ 5092262 w 8939048"/>
                <a:gd name="connsiteY6" fmla="*/ 1103586 h 5312980"/>
                <a:gd name="connsiteX7" fmla="*/ 4776951 w 8939048"/>
                <a:gd name="connsiteY7" fmla="*/ 1466193 h 5312980"/>
                <a:gd name="connsiteX8" fmla="*/ 3499944 w 8939048"/>
                <a:gd name="connsiteY8" fmla="*/ 252248 h 5312980"/>
                <a:gd name="connsiteX9" fmla="*/ 1277006 w 8939048"/>
                <a:gd name="connsiteY9" fmla="*/ 1245476 h 5312980"/>
                <a:gd name="connsiteX10" fmla="*/ 15765 w 8939048"/>
                <a:gd name="connsiteY10" fmla="*/ 0 h 5312980"/>
                <a:gd name="connsiteX0" fmla="*/ 15765 w 8939048"/>
                <a:gd name="connsiteY0" fmla="*/ 0 h 5328745"/>
                <a:gd name="connsiteX1" fmla="*/ 0 w 8939048"/>
                <a:gd name="connsiteY1" fmla="*/ 3042745 h 5328745"/>
                <a:gd name="connsiteX2" fmla="*/ 1457270 w 8939048"/>
                <a:gd name="connsiteY2" fmla="*/ 5328745 h 5328745"/>
                <a:gd name="connsiteX3" fmla="*/ 8939048 w 8939048"/>
                <a:gd name="connsiteY3" fmla="*/ 5312980 h 5328745"/>
                <a:gd name="connsiteX4" fmla="*/ 5896303 w 8939048"/>
                <a:gd name="connsiteY4" fmla="*/ 220717 h 5328745"/>
                <a:gd name="connsiteX5" fmla="*/ 5644055 w 8939048"/>
                <a:gd name="connsiteY5" fmla="*/ 536028 h 5328745"/>
                <a:gd name="connsiteX6" fmla="*/ 5092262 w 8939048"/>
                <a:gd name="connsiteY6" fmla="*/ 1103586 h 5328745"/>
                <a:gd name="connsiteX7" fmla="*/ 4776951 w 8939048"/>
                <a:gd name="connsiteY7" fmla="*/ 1466193 h 5328745"/>
                <a:gd name="connsiteX8" fmla="*/ 3499944 w 8939048"/>
                <a:gd name="connsiteY8" fmla="*/ 252248 h 5328745"/>
                <a:gd name="connsiteX9" fmla="*/ 1277006 w 8939048"/>
                <a:gd name="connsiteY9" fmla="*/ 1245476 h 5328745"/>
                <a:gd name="connsiteX10" fmla="*/ 15765 w 8939048"/>
                <a:gd name="connsiteY10" fmla="*/ 0 h 5328745"/>
                <a:gd name="connsiteX0" fmla="*/ 15765 w 8939048"/>
                <a:gd name="connsiteY0" fmla="*/ 0 h 5328745"/>
                <a:gd name="connsiteX1" fmla="*/ 0 w 8939048"/>
                <a:gd name="connsiteY1" fmla="*/ 3042745 h 5328745"/>
                <a:gd name="connsiteX2" fmla="*/ 1457270 w 8939048"/>
                <a:gd name="connsiteY2" fmla="*/ 5328745 h 5328745"/>
                <a:gd name="connsiteX3" fmla="*/ 8939048 w 8939048"/>
                <a:gd name="connsiteY3" fmla="*/ 5312980 h 5328745"/>
                <a:gd name="connsiteX4" fmla="*/ 5896303 w 8939048"/>
                <a:gd name="connsiteY4" fmla="*/ 220717 h 5328745"/>
                <a:gd name="connsiteX5" fmla="*/ 5644055 w 8939048"/>
                <a:gd name="connsiteY5" fmla="*/ 536028 h 5328745"/>
                <a:gd name="connsiteX6" fmla="*/ 5092262 w 8939048"/>
                <a:gd name="connsiteY6" fmla="*/ 1103586 h 5328745"/>
                <a:gd name="connsiteX7" fmla="*/ 4776951 w 8939048"/>
                <a:gd name="connsiteY7" fmla="*/ 1466193 h 5328745"/>
                <a:gd name="connsiteX8" fmla="*/ 3499944 w 8939048"/>
                <a:gd name="connsiteY8" fmla="*/ 252248 h 5328745"/>
                <a:gd name="connsiteX9" fmla="*/ 1152470 w 8939048"/>
                <a:gd name="connsiteY9" fmla="*/ 1421524 h 5328745"/>
                <a:gd name="connsiteX10" fmla="*/ 15765 w 8939048"/>
                <a:gd name="connsiteY10" fmla="*/ 0 h 5328745"/>
                <a:gd name="connsiteX0" fmla="*/ 15765 w 8939048"/>
                <a:gd name="connsiteY0" fmla="*/ 0 h 5328745"/>
                <a:gd name="connsiteX1" fmla="*/ 0 w 8939048"/>
                <a:gd name="connsiteY1" fmla="*/ 3042745 h 5328745"/>
                <a:gd name="connsiteX2" fmla="*/ 1457270 w 8939048"/>
                <a:gd name="connsiteY2" fmla="*/ 5328745 h 5328745"/>
                <a:gd name="connsiteX3" fmla="*/ 8939048 w 8939048"/>
                <a:gd name="connsiteY3" fmla="*/ 5312980 h 5328745"/>
                <a:gd name="connsiteX4" fmla="*/ 5896303 w 8939048"/>
                <a:gd name="connsiteY4" fmla="*/ 220717 h 5328745"/>
                <a:gd name="connsiteX5" fmla="*/ 5644055 w 8939048"/>
                <a:gd name="connsiteY5" fmla="*/ 536028 h 5328745"/>
                <a:gd name="connsiteX6" fmla="*/ 5092262 w 8939048"/>
                <a:gd name="connsiteY6" fmla="*/ 1103586 h 5328745"/>
                <a:gd name="connsiteX7" fmla="*/ 4776951 w 8939048"/>
                <a:gd name="connsiteY7" fmla="*/ 1466193 h 5328745"/>
                <a:gd name="connsiteX8" fmla="*/ 3499944 w 8939048"/>
                <a:gd name="connsiteY8" fmla="*/ 252248 h 5328745"/>
                <a:gd name="connsiteX9" fmla="*/ 1120939 w 8939048"/>
                <a:gd name="connsiteY9" fmla="*/ 1594945 h 5328745"/>
                <a:gd name="connsiteX10" fmla="*/ 15765 w 8939048"/>
                <a:gd name="connsiteY10" fmla="*/ 0 h 5328745"/>
                <a:gd name="connsiteX0" fmla="*/ 15765 w 9606330"/>
                <a:gd name="connsiteY0" fmla="*/ 0 h 6364698"/>
                <a:gd name="connsiteX1" fmla="*/ 0 w 9606330"/>
                <a:gd name="connsiteY1" fmla="*/ 3042745 h 6364698"/>
                <a:gd name="connsiteX2" fmla="*/ 1457270 w 9606330"/>
                <a:gd name="connsiteY2" fmla="*/ 5328745 h 6364698"/>
                <a:gd name="connsiteX3" fmla="*/ 9606330 w 9606330"/>
                <a:gd name="connsiteY3" fmla="*/ 6364698 h 6364698"/>
                <a:gd name="connsiteX4" fmla="*/ 5896303 w 9606330"/>
                <a:gd name="connsiteY4" fmla="*/ 220717 h 6364698"/>
                <a:gd name="connsiteX5" fmla="*/ 5644055 w 9606330"/>
                <a:gd name="connsiteY5" fmla="*/ 536028 h 6364698"/>
                <a:gd name="connsiteX6" fmla="*/ 5092262 w 9606330"/>
                <a:gd name="connsiteY6" fmla="*/ 1103586 h 6364698"/>
                <a:gd name="connsiteX7" fmla="*/ 4776951 w 9606330"/>
                <a:gd name="connsiteY7" fmla="*/ 1466193 h 6364698"/>
                <a:gd name="connsiteX8" fmla="*/ 3499944 w 9606330"/>
                <a:gd name="connsiteY8" fmla="*/ 252248 h 6364698"/>
                <a:gd name="connsiteX9" fmla="*/ 1120939 w 9606330"/>
                <a:gd name="connsiteY9" fmla="*/ 1594945 h 6364698"/>
                <a:gd name="connsiteX10" fmla="*/ 15765 w 9606330"/>
                <a:gd name="connsiteY10" fmla="*/ 0 h 6364698"/>
                <a:gd name="connsiteX0" fmla="*/ 15765 w 9606330"/>
                <a:gd name="connsiteY0" fmla="*/ 0 h 6364698"/>
                <a:gd name="connsiteX1" fmla="*/ 0 w 9606330"/>
                <a:gd name="connsiteY1" fmla="*/ 3042745 h 6364698"/>
                <a:gd name="connsiteX2" fmla="*/ 2105459 w 9606330"/>
                <a:gd name="connsiteY2" fmla="*/ 6360680 h 6364698"/>
                <a:gd name="connsiteX3" fmla="*/ 9606330 w 9606330"/>
                <a:gd name="connsiteY3" fmla="*/ 6364698 h 6364698"/>
                <a:gd name="connsiteX4" fmla="*/ 5896303 w 9606330"/>
                <a:gd name="connsiteY4" fmla="*/ 220717 h 6364698"/>
                <a:gd name="connsiteX5" fmla="*/ 5644055 w 9606330"/>
                <a:gd name="connsiteY5" fmla="*/ 536028 h 6364698"/>
                <a:gd name="connsiteX6" fmla="*/ 5092262 w 9606330"/>
                <a:gd name="connsiteY6" fmla="*/ 1103586 h 6364698"/>
                <a:gd name="connsiteX7" fmla="*/ 4776951 w 9606330"/>
                <a:gd name="connsiteY7" fmla="*/ 1466193 h 6364698"/>
                <a:gd name="connsiteX8" fmla="*/ 3499944 w 9606330"/>
                <a:gd name="connsiteY8" fmla="*/ 252248 h 6364698"/>
                <a:gd name="connsiteX9" fmla="*/ 1120939 w 9606330"/>
                <a:gd name="connsiteY9" fmla="*/ 1594945 h 6364698"/>
                <a:gd name="connsiteX10" fmla="*/ 15765 w 9606330"/>
                <a:gd name="connsiteY10" fmla="*/ 0 h 6364698"/>
                <a:gd name="connsiteX0" fmla="*/ 15765 w 9606330"/>
                <a:gd name="connsiteY0" fmla="*/ 0 h 6364698"/>
                <a:gd name="connsiteX1" fmla="*/ 0 w 9606330"/>
                <a:gd name="connsiteY1" fmla="*/ 3042745 h 6364698"/>
                <a:gd name="connsiteX2" fmla="*/ 1434192 w 9606330"/>
                <a:gd name="connsiteY2" fmla="*/ 5404573 h 6364698"/>
                <a:gd name="connsiteX3" fmla="*/ 9606330 w 9606330"/>
                <a:gd name="connsiteY3" fmla="*/ 6364698 h 6364698"/>
                <a:gd name="connsiteX4" fmla="*/ 5896303 w 9606330"/>
                <a:gd name="connsiteY4" fmla="*/ 220717 h 6364698"/>
                <a:gd name="connsiteX5" fmla="*/ 5644055 w 9606330"/>
                <a:gd name="connsiteY5" fmla="*/ 536028 h 6364698"/>
                <a:gd name="connsiteX6" fmla="*/ 5092262 w 9606330"/>
                <a:gd name="connsiteY6" fmla="*/ 1103586 h 6364698"/>
                <a:gd name="connsiteX7" fmla="*/ 4776951 w 9606330"/>
                <a:gd name="connsiteY7" fmla="*/ 1466193 h 6364698"/>
                <a:gd name="connsiteX8" fmla="*/ 3499944 w 9606330"/>
                <a:gd name="connsiteY8" fmla="*/ 252248 h 6364698"/>
                <a:gd name="connsiteX9" fmla="*/ 1120939 w 9606330"/>
                <a:gd name="connsiteY9" fmla="*/ 1594945 h 6364698"/>
                <a:gd name="connsiteX10" fmla="*/ 15765 w 9606330"/>
                <a:gd name="connsiteY10" fmla="*/ 0 h 6364698"/>
                <a:gd name="connsiteX0" fmla="*/ 15765 w 10560444"/>
                <a:gd name="connsiteY0" fmla="*/ 0 h 5408591"/>
                <a:gd name="connsiteX1" fmla="*/ 0 w 10560444"/>
                <a:gd name="connsiteY1" fmla="*/ 3042745 h 5408591"/>
                <a:gd name="connsiteX2" fmla="*/ 1434192 w 10560444"/>
                <a:gd name="connsiteY2" fmla="*/ 5404573 h 5408591"/>
                <a:gd name="connsiteX3" fmla="*/ 10560444 w 10560444"/>
                <a:gd name="connsiteY3" fmla="*/ 5408591 h 5408591"/>
                <a:gd name="connsiteX4" fmla="*/ 5896303 w 10560444"/>
                <a:gd name="connsiteY4" fmla="*/ 220717 h 5408591"/>
                <a:gd name="connsiteX5" fmla="*/ 5644055 w 10560444"/>
                <a:gd name="connsiteY5" fmla="*/ 536028 h 5408591"/>
                <a:gd name="connsiteX6" fmla="*/ 5092262 w 10560444"/>
                <a:gd name="connsiteY6" fmla="*/ 1103586 h 5408591"/>
                <a:gd name="connsiteX7" fmla="*/ 4776951 w 10560444"/>
                <a:gd name="connsiteY7" fmla="*/ 1466193 h 5408591"/>
                <a:gd name="connsiteX8" fmla="*/ 3499944 w 10560444"/>
                <a:gd name="connsiteY8" fmla="*/ 252248 h 5408591"/>
                <a:gd name="connsiteX9" fmla="*/ 1120939 w 10560444"/>
                <a:gd name="connsiteY9" fmla="*/ 1594945 h 5408591"/>
                <a:gd name="connsiteX10" fmla="*/ 15765 w 10560444"/>
                <a:gd name="connsiteY10" fmla="*/ 0 h 5408591"/>
                <a:gd name="connsiteX0" fmla="*/ 15765 w 10560444"/>
                <a:gd name="connsiteY0" fmla="*/ 352946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5092262 w 10560444"/>
                <a:gd name="connsiteY6" fmla="*/ 1456532 h 5761537"/>
                <a:gd name="connsiteX7" fmla="*/ 4776951 w 10560444"/>
                <a:gd name="connsiteY7" fmla="*/ 1819139 h 5761537"/>
                <a:gd name="connsiteX8" fmla="*/ 3499944 w 10560444"/>
                <a:gd name="connsiteY8" fmla="*/ 605194 h 5761537"/>
                <a:gd name="connsiteX9" fmla="*/ 1120939 w 10560444"/>
                <a:gd name="connsiteY9" fmla="*/ 1947891 h 5761537"/>
                <a:gd name="connsiteX10" fmla="*/ 15765 w 10560444"/>
                <a:gd name="connsiteY10" fmla="*/ 352946 h 5761537"/>
                <a:gd name="connsiteX0" fmla="*/ 112093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5092262 w 10560444"/>
                <a:gd name="connsiteY6" fmla="*/ 1456532 h 5761537"/>
                <a:gd name="connsiteX7" fmla="*/ 4776951 w 10560444"/>
                <a:gd name="connsiteY7" fmla="*/ 1819139 h 5761537"/>
                <a:gd name="connsiteX8" fmla="*/ 3499944 w 10560444"/>
                <a:gd name="connsiteY8" fmla="*/ 605194 h 5761537"/>
                <a:gd name="connsiteX9" fmla="*/ 1120939 w 10560444"/>
                <a:gd name="connsiteY9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5092262 w 10560444"/>
                <a:gd name="connsiteY6" fmla="*/ 1456532 h 5761537"/>
                <a:gd name="connsiteX7" fmla="*/ 4776951 w 10560444"/>
                <a:gd name="connsiteY7" fmla="*/ 1819139 h 5761537"/>
                <a:gd name="connsiteX8" fmla="*/ 3499944 w 10560444"/>
                <a:gd name="connsiteY8" fmla="*/ 605194 h 5761537"/>
                <a:gd name="connsiteX9" fmla="*/ 1596999 w 10560444"/>
                <a:gd name="connsiteY9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5092262 w 10560444"/>
                <a:gd name="connsiteY6" fmla="*/ 1456532 h 5761537"/>
                <a:gd name="connsiteX7" fmla="*/ 4776951 w 10560444"/>
                <a:gd name="connsiteY7" fmla="*/ 1819139 h 5761537"/>
                <a:gd name="connsiteX8" fmla="*/ 3499944 w 10560444"/>
                <a:gd name="connsiteY8" fmla="*/ 605194 h 5761537"/>
                <a:gd name="connsiteX9" fmla="*/ 2251451 w 10560444"/>
                <a:gd name="connsiteY9" fmla="*/ 2776243 h 5761537"/>
                <a:gd name="connsiteX10" fmla="*/ 1596999 w 10560444"/>
                <a:gd name="connsiteY10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5092262 w 10560444"/>
                <a:gd name="connsiteY6" fmla="*/ 1456532 h 5761537"/>
                <a:gd name="connsiteX7" fmla="*/ 4776951 w 10560444"/>
                <a:gd name="connsiteY7" fmla="*/ 1819139 h 5761537"/>
                <a:gd name="connsiteX8" fmla="*/ 3499944 w 10560444"/>
                <a:gd name="connsiteY8" fmla="*/ 1083248 h 5761537"/>
                <a:gd name="connsiteX9" fmla="*/ 2251451 w 10560444"/>
                <a:gd name="connsiteY9" fmla="*/ 2776243 h 5761537"/>
                <a:gd name="connsiteX10" fmla="*/ 1596999 w 10560444"/>
                <a:gd name="connsiteY10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5092262 w 10560444"/>
                <a:gd name="connsiteY6" fmla="*/ 1456532 h 5761537"/>
                <a:gd name="connsiteX7" fmla="*/ 4776951 w 10560444"/>
                <a:gd name="connsiteY7" fmla="*/ 1819139 h 5761537"/>
                <a:gd name="connsiteX8" fmla="*/ 3861781 w 10560444"/>
                <a:gd name="connsiteY8" fmla="*/ 1135399 h 5761537"/>
                <a:gd name="connsiteX9" fmla="*/ 2251451 w 10560444"/>
                <a:gd name="connsiteY9" fmla="*/ 2776243 h 5761537"/>
                <a:gd name="connsiteX10" fmla="*/ 1596999 w 10560444"/>
                <a:gd name="connsiteY10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5644055 w 10560444"/>
                <a:gd name="connsiteY5" fmla="*/ 888974 h 5761537"/>
                <a:gd name="connsiteX6" fmla="*/ 4776951 w 10560444"/>
                <a:gd name="connsiteY6" fmla="*/ 1819139 h 5761537"/>
                <a:gd name="connsiteX7" fmla="*/ 3861781 w 10560444"/>
                <a:gd name="connsiteY7" fmla="*/ 1135399 h 5761537"/>
                <a:gd name="connsiteX8" fmla="*/ 2251451 w 10560444"/>
                <a:gd name="connsiteY8" fmla="*/ 2776243 h 5761537"/>
                <a:gd name="connsiteX9" fmla="*/ 1596999 w 10560444"/>
                <a:gd name="connsiteY9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4776951 w 10560444"/>
                <a:gd name="connsiteY5" fmla="*/ 1819139 h 5761537"/>
                <a:gd name="connsiteX6" fmla="*/ 3861781 w 10560444"/>
                <a:gd name="connsiteY6" fmla="*/ 1135399 h 5761537"/>
                <a:gd name="connsiteX7" fmla="*/ 2251451 w 10560444"/>
                <a:gd name="connsiteY7" fmla="*/ 2776243 h 5761537"/>
                <a:gd name="connsiteX8" fmla="*/ 1596999 w 10560444"/>
                <a:gd name="connsiteY8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4776952 w 10560444"/>
                <a:gd name="connsiteY5" fmla="*/ 1819139 h 5761537"/>
                <a:gd name="connsiteX6" fmla="*/ 3861781 w 10560444"/>
                <a:gd name="connsiteY6" fmla="*/ 1135399 h 5761537"/>
                <a:gd name="connsiteX7" fmla="*/ 2251451 w 10560444"/>
                <a:gd name="connsiteY7" fmla="*/ 2776243 h 5761537"/>
                <a:gd name="connsiteX8" fmla="*/ 1596999 w 10560444"/>
                <a:gd name="connsiteY8" fmla="*/ 1947891 h 5761537"/>
                <a:gd name="connsiteX0" fmla="*/ 1596999 w 10560444"/>
                <a:gd name="connsiteY0" fmla="*/ 1947891 h 5761537"/>
                <a:gd name="connsiteX1" fmla="*/ 0 w 10560444"/>
                <a:gd name="connsiteY1" fmla="*/ 3395691 h 5761537"/>
                <a:gd name="connsiteX2" fmla="*/ 1434192 w 10560444"/>
                <a:gd name="connsiteY2" fmla="*/ 5757519 h 5761537"/>
                <a:gd name="connsiteX3" fmla="*/ 10560444 w 10560444"/>
                <a:gd name="connsiteY3" fmla="*/ 5761537 h 5761537"/>
                <a:gd name="connsiteX4" fmla="*/ 7041639 w 10560444"/>
                <a:gd name="connsiteY4" fmla="*/ 0 h 5761537"/>
                <a:gd name="connsiteX5" fmla="*/ 4801543 w 10560444"/>
                <a:gd name="connsiteY5" fmla="*/ 2078157 h 5761537"/>
                <a:gd name="connsiteX6" fmla="*/ 3861781 w 10560444"/>
                <a:gd name="connsiteY6" fmla="*/ 1135399 h 5761537"/>
                <a:gd name="connsiteX7" fmla="*/ 2251451 w 10560444"/>
                <a:gd name="connsiteY7" fmla="*/ 2776243 h 5761537"/>
                <a:gd name="connsiteX8" fmla="*/ 1596999 w 10560444"/>
                <a:gd name="connsiteY8" fmla="*/ 1947891 h 5761537"/>
                <a:gd name="connsiteX0" fmla="*/ 1596999 w 10560444"/>
                <a:gd name="connsiteY0" fmla="*/ 1952712 h 5766358"/>
                <a:gd name="connsiteX1" fmla="*/ 0 w 10560444"/>
                <a:gd name="connsiteY1" fmla="*/ 3400512 h 5766358"/>
                <a:gd name="connsiteX2" fmla="*/ 1434192 w 10560444"/>
                <a:gd name="connsiteY2" fmla="*/ 5762340 h 5766358"/>
                <a:gd name="connsiteX3" fmla="*/ 10560444 w 10560444"/>
                <a:gd name="connsiteY3" fmla="*/ 5766358 h 5766358"/>
                <a:gd name="connsiteX4" fmla="*/ 7095053 w 10560444"/>
                <a:gd name="connsiteY4" fmla="*/ 0 h 5766358"/>
                <a:gd name="connsiteX5" fmla="*/ 4801543 w 10560444"/>
                <a:gd name="connsiteY5" fmla="*/ 2082978 h 5766358"/>
                <a:gd name="connsiteX6" fmla="*/ 3861781 w 10560444"/>
                <a:gd name="connsiteY6" fmla="*/ 1140220 h 5766358"/>
                <a:gd name="connsiteX7" fmla="*/ 2251451 w 10560444"/>
                <a:gd name="connsiteY7" fmla="*/ 2781064 h 5766358"/>
                <a:gd name="connsiteX8" fmla="*/ 1596999 w 10560444"/>
                <a:gd name="connsiteY8" fmla="*/ 1952712 h 5766358"/>
                <a:gd name="connsiteX0" fmla="*/ 1622323 w 10585768"/>
                <a:gd name="connsiteY0" fmla="*/ 1952712 h 5766358"/>
                <a:gd name="connsiteX1" fmla="*/ 0 w 10585768"/>
                <a:gd name="connsiteY1" fmla="*/ 3308919 h 5766358"/>
                <a:gd name="connsiteX2" fmla="*/ 1459516 w 10585768"/>
                <a:gd name="connsiteY2" fmla="*/ 5762340 h 5766358"/>
                <a:gd name="connsiteX3" fmla="*/ 10585768 w 10585768"/>
                <a:gd name="connsiteY3" fmla="*/ 5766358 h 5766358"/>
                <a:gd name="connsiteX4" fmla="*/ 7120377 w 10585768"/>
                <a:gd name="connsiteY4" fmla="*/ 0 h 5766358"/>
                <a:gd name="connsiteX5" fmla="*/ 4826867 w 10585768"/>
                <a:gd name="connsiteY5" fmla="*/ 2082978 h 5766358"/>
                <a:gd name="connsiteX6" fmla="*/ 3887105 w 10585768"/>
                <a:gd name="connsiteY6" fmla="*/ 1140220 h 5766358"/>
                <a:gd name="connsiteX7" fmla="*/ 2276775 w 10585768"/>
                <a:gd name="connsiteY7" fmla="*/ 2781064 h 5766358"/>
                <a:gd name="connsiteX8" fmla="*/ 1622323 w 10585768"/>
                <a:gd name="connsiteY8" fmla="*/ 1952712 h 5766358"/>
                <a:gd name="connsiteX0" fmla="*/ 1622323 w 10585768"/>
                <a:gd name="connsiteY0" fmla="*/ 1952712 h 5766358"/>
                <a:gd name="connsiteX1" fmla="*/ 0 w 10585768"/>
                <a:gd name="connsiteY1" fmla="*/ 3308919 h 5766358"/>
                <a:gd name="connsiteX2" fmla="*/ 1459516 w 10585768"/>
                <a:gd name="connsiteY2" fmla="*/ 5762340 h 5766358"/>
                <a:gd name="connsiteX3" fmla="*/ 10585768 w 10585768"/>
                <a:gd name="connsiteY3" fmla="*/ 5766358 h 5766358"/>
                <a:gd name="connsiteX4" fmla="*/ 7120377 w 10585768"/>
                <a:gd name="connsiteY4" fmla="*/ 0 h 5766358"/>
                <a:gd name="connsiteX5" fmla="*/ 4826867 w 10585768"/>
                <a:gd name="connsiteY5" fmla="*/ 2082978 h 5766358"/>
                <a:gd name="connsiteX6" fmla="*/ 3887105 w 10585768"/>
                <a:gd name="connsiteY6" fmla="*/ 1140220 h 5766358"/>
                <a:gd name="connsiteX7" fmla="*/ 2276775 w 10585768"/>
                <a:gd name="connsiteY7" fmla="*/ 2781064 h 5766358"/>
                <a:gd name="connsiteX8" fmla="*/ 1622323 w 10585768"/>
                <a:gd name="connsiteY8" fmla="*/ 1952712 h 5766358"/>
                <a:gd name="connsiteX0" fmla="*/ 1622323 w 10585768"/>
                <a:gd name="connsiteY0" fmla="*/ 1952712 h 5766358"/>
                <a:gd name="connsiteX1" fmla="*/ 0 w 10585768"/>
                <a:gd name="connsiteY1" fmla="*/ 3308919 h 5766358"/>
                <a:gd name="connsiteX2" fmla="*/ 1459516 w 10585768"/>
                <a:gd name="connsiteY2" fmla="*/ 5762340 h 5766358"/>
                <a:gd name="connsiteX3" fmla="*/ 10585768 w 10585768"/>
                <a:gd name="connsiteY3" fmla="*/ 5766358 h 5766358"/>
                <a:gd name="connsiteX4" fmla="*/ 7120377 w 10585768"/>
                <a:gd name="connsiteY4" fmla="*/ 0 h 5766358"/>
                <a:gd name="connsiteX5" fmla="*/ 4826867 w 10585768"/>
                <a:gd name="connsiteY5" fmla="*/ 2082978 h 5766358"/>
                <a:gd name="connsiteX6" fmla="*/ 3887105 w 10585768"/>
                <a:gd name="connsiteY6" fmla="*/ 1140220 h 5766358"/>
                <a:gd name="connsiteX7" fmla="*/ 2276775 w 10585768"/>
                <a:gd name="connsiteY7" fmla="*/ 2781064 h 5766358"/>
                <a:gd name="connsiteX8" fmla="*/ 1622323 w 10585768"/>
                <a:gd name="connsiteY8" fmla="*/ 1952712 h 5766358"/>
                <a:gd name="connsiteX0" fmla="*/ 1622323 w 10585768"/>
                <a:gd name="connsiteY0" fmla="*/ 1952712 h 5766358"/>
                <a:gd name="connsiteX1" fmla="*/ 0 w 10585768"/>
                <a:gd name="connsiteY1" fmla="*/ 3308919 h 5766358"/>
                <a:gd name="connsiteX2" fmla="*/ 1459516 w 10585768"/>
                <a:gd name="connsiteY2" fmla="*/ 5762340 h 5766358"/>
                <a:gd name="connsiteX3" fmla="*/ 10585768 w 10585768"/>
                <a:gd name="connsiteY3" fmla="*/ 5766358 h 5766358"/>
                <a:gd name="connsiteX4" fmla="*/ 7120377 w 10585768"/>
                <a:gd name="connsiteY4" fmla="*/ 0 h 5766358"/>
                <a:gd name="connsiteX5" fmla="*/ 4826867 w 10585768"/>
                <a:gd name="connsiteY5" fmla="*/ 2082978 h 5766358"/>
                <a:gd name="connsiteX6" fmla="*/ 3887105 w 10585768"/>
                <a:gd name="connsiteY6" fmla="*/ 1140220 h 5766358"/>
                <a:gd name="connsiteX7" fmla="*/ 2276775 w 10585768"/>
                <a:gd name="connsiteY7" fmla="*/ 2781064 h 5766358"/>
                <a:gd name="connsiteX8" fmla="*/ 1622323 w 10585768"/>
                <a:gd name="connsiteY8" fmla="*/ 1952712 h 5766358"/>
                <a:gd name="connsiteX0" fmla="*/ 1622323 w 10692197"/>
                <a:gd name="connsiteY0" fmla="*/ 1952712 h 5775184"/>
                <a:gd name="connsiteX1" fmla="*/ 0 w 10692197"/>
                <a:gd name="connsiteY1" fmla="*/ 3308919 h 5775184"/>
                <a:gd name="connsiteX2" fmla="*/ 1459516 w 10692197"/>
                <a:gd name="connsiteY2" fmla="*/ 5762340 h 5775184"/>
                <a:gd name="connsiteX3" fmla="*/ 10692197 w 10692197"/>
                <a:gd name="connsiteY3" fmla="*/ 5775184 h 5775184"/>
                <a:gd name="connsiteX4" fmla="*/ 7120377 w 10692197"/>
                <a:gd name="connsiteY4" fmla="*/ 0 h 5775184"/>
                <a:gd name="connsiteX5" fmla="*/ 4826867 w 10692197"/>
                <a:gd name="connsiteY5" fmla="*/ 2082978 h 5775184"/>
                <a:gd name="connsiteX6" fmla="*/ 3887105 w 10692197"/>
                <a:gd name="connsiteY6" fmla="*/ 1140220 h 5775184"/>
                <a:gd name="connsiteX7" fmla="*/ 2276775 w 10692197"/>
                <a:gd name="connsiteY7" fmla="*/ 2781064 h 5775184"/>
                <a:gd name="connsiteX8" fmla="*/ 1622323 w 10692197"/>
                <a:gd name="connsiteY8" fmla="*/ 1952712 h 5775184"/>
                <a:gd name="connsiteX0" fmla="*/ 2952182 w 10692197"/>
                <a:gd name="connsiteY0" fmla="*/ 1040064 h 5775184"/>
                <a:gd name="connsiteX1" fmla="*/ 0 w 10692197"/>
                <a:gd name="connsiteY1" fmla="*/ 3308919 h 5775184"/>
                <a:gd name="connsiteX2" fmla="*/ 1459516 w 10692197"/>
                <a:gd name="connsiteY2" fmla="*/ 5762340 h 5775184"/>
                <a:gd name="connsiteX3" fmla="*/ 10692197 w 10692197"/>
                <a:gd name="connsiteY3" fmla="*/ 5775184 h 5775184"/>
                <a:gd name="connsiteX4" fmla="*/ 7120377 w 10692197"/>
                <a:gd name="connsiteY4" fmla="*/ 0 h 5775184"/>
                <a:gd name="connsiteX5" fmla="*/ 4826867 w 10692197"/>
                <a:gd name="connsiteY5" fmla="*/ 2082978 h 5775184"/>
                <a:gd name="connsiteX6" fmla="*/ 3887105 w 10692197"/>
                <a:gd name="connsiteY6" fmla="*/ 1140220 h 5775184"/>
                <a:gd name="connsiteX7" fmla="*/ 2276775 w 10692197"/>
                <a:gd name="connsiteY7" fmla="*/ 2781064 h 5775184"/>
                <a:gd name="connsiteX8" fmla="*/ 2952182 w 10692197"/>
                <a:gd name="connsiteY8" fmla="*/ 1040064 h 5775184"/>
                <a:gd name="connsiteX0" fmla="*/ 2952182 w 10692197"/>
                <a:gd name="connsiteY0" fmla="*/ 1040064 h 5775184"/>
                <a:gd name="connsiteX1" fmla="*/ 0 w 10692197"/>
                <a:gd name="connsiteY1" fmla="*/ 3308919 h 5775184"/>
                <a:gd name="connsiteX2" fmla="*/ 1459516 w 10692197"/>
                <a:gd name="connsiteY2" fmla="*/ 5762340 h 5775184"/>
                <a:gd name="connsiteX3" fmla="*/ 10692197 w 10692197"/>
                <a:gd name="connsiteY3" fmla="*/ 5775184 h 5775184"/>
                <a:gd name="connsiteX4" fmla="*/ 7120377 w 10692197"/>
                <a:gd name="connsiteY4" fmla="*/ 0 h 5775184"/>
                <a:gd name="connsiteX5" fmla="*/ 4826867 w 10692197"/>
                <a:gd name="connsiteY5" fmla="*/ 2082978 h 5775184"/>
                <a:gd name="connsiteX6" fmla="*/ 3887105 w 10692197"/>
                <a:gd name="connsiteY6" fmla="*/ 1140220 h 5775184"/>
                <a:gd name="connsiteX7" fmla="*/ 2952182 w 10692197"/>
                <a:gd name="connsiteY7" fmla="*/ 1040064 h 5775184"/>
                <a:gd name="connsiteX0" fmla="*/ 2952182 w 10692197"/>
                <a:gd name="connsiteY0" fmla="*/ 1040064 h 5775184"/>
                <a:gd name="connsiteX1" fmla="*/ 0 w 10692197"/>
                <a:gd name="connsiteY1" fmla="*/ 3308919 h 5775184"/>
                <a:gd name="connsiteX2" fmla="*/ 1459516 w 10692197"/>
                <a:gd name="connsiteY2" fmla="*/ 5762340 h 5775184"/>
                <a:gd name="connsiteX3" fmla="*/ 10692197 w 10692197"/>
                <a:gd name="connsiteY3" fmla="*/ 5775184 h 5775184"/>
                <a:gd name="connsiteX4" fmla="*/ 7120377 w 10692197"/>
                <a:gd name="connsiteY4" fmla="*/ 0 h 5775184"/>
                <a:gd name="connsiteX5" fmla="*/ 4826867 w 10692197"/>
                <a:gd name="connsiteY5" fmla="*/ 2082978 h 5775184"/>
                <a:gd name="connsiteX6" fmla="*/ 3495969 w 10692197"/>
                <a:gd name="connsiteY6" fmla="*/ 1609582 h 5775184"/>
                <a:gd name="connsiteX7" fmla="*/ 2952182 w 10692197"/>
                <a:gd name="connsiteY7" fmla="*/ 1040064 h 5775184"/>
                <a:gd name="connsiteX0" fmla="*/ 2952182 w 10692197"/>
                <a:gd name="connsiteY0" fmla="*/ 1040064 h 5775184"/>
                <a:gd name="connsiteX1" fmla="*/ 0 w 10692197"/>
                <a:gd name="connsiteY1" fmla="*/ 3308919 h 5775184"/>
                <a:gd name="connsiteX2" fmla="*/ 1459516 w 10692197"/>
                <a:gd name="connsiteY2" fmla="*/ 5762340 h 5775184"/>
                <a:gd name="connsiteX3" fmla="*/ 10692197 w 10692197"/>
                <a:gd name="connsiteY3" fmla="*/ 5775184 h 5775184"/>
                <a:gd name="connsiteX4" fmla="*/ 7120377 w 10692197"/>
                <a:gd name="connsiteY4" fmla="*/ 0 h 5775184"/>
                <a:gd name="connsiteX5" fmla="*/ 4826867 w 10692197"/>
                <a:gd name="connsiteY5" fmla="*/ 2082978 h 5775184"/>
                <a:gd name="connsiteX6" fmla="*/ 2952182 w 10692197"/>
                <a:gd name="connsiteY6" fmla="*/ 1040064 h 5775184"/>
                <a:gd name="connsiteX0" fmla="*/ 2952182 w 10692197"/>
                <a:gd name="connsiteY0" fmla="*/ 1040064 h 5775184"/>
                <a:gd name="connsiteX1" fmla="*/ 0 w 10692197"/>
                <a:gd name="connsiteY1" fmla="*/ 3308919 h 5775184"/>
                <a:gd name="connsiteX2" fmla="*/ 1459516 w 10692197"/>
                <a:gd name="connsiteY2" fmla="*/ 5762340 h 5775184"/>
                <a:gd name="connsiteX3" fmla="*/ 10692197 w 10692197"/>
                <a:gd name="connsiteY3" fmla="*/ 5775184 h 5775184"/>
                <a:gd name="connsiteX4" fmla="*/ 7120377 w 10692197"/>
                <a:gd name="connsiteY4" fmla="*/ 0 h 5775184"/>
                <a:gd name="connsiteX5" fmla="*/ 4566111 w 10692197"/>
                <a:gd name="connsiteY5" fmla="*/ 2474112 h 5775184"/>
                <a:gd name="connsiteX6" fmla="*/ 2952182 w 10692197"/>
                <a:gd name="connsiteY6" fmla="*/ 1040064 h 5775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92197" h="5775184">
                  <a:moveTo>
                    <a:pt x="2952182" y="1040064"/>
                  </a:moveTo>
                  <a:lnTo>
                    <a:pt x="0" y="3308919"/>
                  </a:lnTo>
                  <a:lnTo>
                    <a:pt x="1459516" y="5762340"/>
                  </a:lnTo>
                  <a:lnTo>
                    <a:pt x="10692197" y="5775184"/>
                  </a:lnTo>
                  <a:lnTo>
                    <a:pt x="7120377" y="0"/>
                  </a:lnTo>
                  <a:lnTo>
                    <a:pt x="4566111" y="2474112"/>
                  </a:lnTo>
                  <a:lnTo>
                    <a:pt x="2952182" y="104006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9" name="Group 40"/>
            <p:cNvGrpSpPr/>
            <p:nvPr/>
          </p:nvGrpSpPr>
          <p:grpSpPr>
            <a:xfrm>
              <a:off x="2862894" y="1981201"/>
              <a:ext cx="5847542" cy="2999973"/>
              <a:chOff x="2490585" y="2394819"/>
              <a:chExt cx="1458240" cy="748123"/>
            </a:xfrm>
            <a:solidFill>
              <a:schemeClr val="accent1"/>
            </a:solidFill>
          </p:grpSpPr>
          <p:sp>
            <p:nvSpPr>
              <p:cNvPr id="200" name="Freeform 199"/>
              <p:cNvSpPr/>
              <p:nvPr/>
            </p:nvSpPr>
            <p:spPr>
              <a:xfrm>
                <a:off x="2490585" y="2534449"/>
                <a:ext cx="1323718" cy="608493"/>
              </a:xfrm>
              <a:custGeom>
                <a:avLst/>
                <a:gdLst>
                  <a:gd name="connsiteX0" fmla="*/ 114969 w 1192463"/>
                  <a:gd name="connsiteY0" fmla="*/ 561473 h 799430"/>
                  <a:gd name="connsiteX1" fmla="*/ 291432 w 1192463"/>
                  <a:gd name="connsiteY1" fmla="*/ 449178 h 799430"/>
                  <a:gd name="connsiteX2" fmla="*/ 339558 w 1192463"/>
                  <a:gd name="connsiteY2" fmla="*/ 561473 h 799430"/>
                  <a:gd name="connsiteX3" fmla="*/ 692484 w 1192463"/>
                  <a:gd name="connsiteY3" fmla="*/ 240631 h 799430"/>
                  <a:gd name="connsiteX4" fmla="*/ 788737 w 1192463"/>
                  <a:gd name="connsiteY4" fmla="*/ 433136 h 799430"/>
                  <a:gd name="connsiteX5" fmla="*/ 1093537 w 1192463"/>
                  <a:gd name="connsiteY5" fmla="*/ 48126 h 799430"/>
                  <a:gd name="connsiteX6" fmla="*/ 1141663 w 1192463"/>
                  <a:gd name="connsiteY6" fmla="*/ 144378 h 799430"/>
                  <a:gd name="connsiteX7" fmla="*/ 788737 w 1192463"/>
                  <a:gd name="connsiteY7" fmla="*/ 625641 h 799430"/>
                  <a:gd name="connsiteX8" fmla="*/ 676442 w 1192463"/>
                  <a:gd name="connsiteY8" fmla="*/ 417094 h 799430"/>
                  <a:gd name="connsiteX9" fmla="*/ 323516 w 1192463"/>
                  <a:gd name="connsiteY9" fmla="*/ 753978 h 799430"/>
                  <a:gd name="connsiteX10" fmla="*/ 259347 w 1192463"/>
                  <a:gd name="connsiteY10" fmla="*/ 593557 h 799430"/>
                  <a:gd name="connsiteX11" fmla="*/ 2674 w 1192463"/>
                  <a:gd name="connsiteY11" fmla="*/ 786062 h 799430"/>
                  <a:gd name="connsiteX12" fmla="*/ 243305 w 1192463"/>
                  <a:gd name="connsiteY12" fmla="*/ 513347 h 799430"/>
                  <a:gd name="connsiteX0" fmla="*/ 291432 w 1192463"/>
                  <a:gd name="connsiteY0" fmla="*/ 449178 h 799430"/>
                  <a:gd name="connsiteX1" fmla="*/ 339558 w 1192463"/>
                  <a:gd name="connsiteY1" fmla="*/ 561473 h 799430"/>
                  <a:gd name="connsiteX2" fmla="*/ 692484 w 1192463"/>
                  <a:gd name="connsiteY2" fmla="*/ 240631 h 799430"/>
                  <a:gd name="connsiteX3" fmla="*/ 788737 w 1192463"/>
                  <a:gd name="connsiteY3" fmla="*/ 433136 h 799430"/>
                  <a:gd name="connsiteX4" fmla="*/ 1093537 w 1192463"/>
                  <a:gd name="connsiteY4" fmla="*/ 48126 h 799430"/>
                  <a:gd name="connsiteX5" fmla="*/ 1141663 w 1192463"/>
                  <a:gd name="connsiteY5" fmla="*/ 144378 h 799430"/>
                  <a:gd name="connsiteX6" fmla="*/ 788737 w 1192463"/>
                  <a:gd name="connsiteY6" fmla="*/ 625641 h 799430"/>
                  <a:gd name="connsiteX7" fmla="*/ 676442 w 1192463"/>
                  <a:gd name="connsiteY7" fmla="*/ 417094 h 799430"/>
                  <a:gd name="connsiteX8" fmla="*/ 323516 w 1192463"/>
                  <a:gd name="connsiteY8" fmla="*/ 753978 h 799430"/>
                  <a:gd name="connsiteX9" fmla="*/ 259347 w 1192463"/>
                  <a:gd name="connsiteY9" fmla="*/ 593557 h 799430"/>
                  <a:gd name="connsiteX10" fmla="*/ 2674 w 1192463"/>
                  <a:gd name="connsiteY10" fmla="*/ 786062 h 799430"/>
                  <a:gd name="connsiteX11" fmla="*/ 243305 w 1192463"/>
                  <a:gd name="connsiteY11" fmla="*/ 513347 h 799430"/>
                  <a:gd name="connsiteX0" fmla="*/ 298520 w 1199551"/>
                  <a:gd name="connsiteY0" fmla="*/ 449178 h 812130"/>
                  <a:gd name="connsiteX1" fmla="*/ 346646 w 1199551"/>
                  <a:gd name="connsiteY1" fmla="*/ 561473 h 812130"/>
                  <a:gd name="connsiteX2" fmla="*/ 699572 w 1199551"/>
                  <a:gd name="connsiteY2" fmla="*/ 240631 h 812130"/>
                  <a:gd name="connsiteX3" fmla="*/ 795825 w 1199551"/>
                  <a:gd name="connsiteY3" fmla="*/ 433136 h 812130"/>
                  <a:gd name="connsiteX4" fmla="*/ 1100625 w 1199551"/>
                  <a:gd name="connsiteY4" fmla="*/ 48126 h 812130"/>
                  <a:gd name="connsiteX5" fmla="*/ 1148751 w 1199551"/>
                  <a:gd name="connsiteY5" fmla="*/ 144378 h 812130"/>
                  <a:gd name="connsiteX6" fmla="*/ 795825 w 1199551"/>
                  <a:gd name="connsiteY6" fmla="*/ 625641 h 812130"/>
                  <a:gd name="connsiteX7" fmla="*/ 683530 w 1199551"/>
                  <a:gd name="connsiteY7" fmla="*/ 417094 h 812130"/>
                  <a:gd name="connsiteX8" fmla="*/ 330604 w 1199551"/>
                  <a:gd name="connsiteY8" fmla="*/ 753978 h 812130"/>
                  <a:gd name="connsiteX9" fmla="*/ 266435 w 1199551"/>
                  <a:gd name="connsiteY9" fmla="*/ 593557 h 812130"/>
                  <a:gd name="connsiteX10" fmla="*/ 9762 w 1199551"/>
                  <a:gd name="connsiteY10" fmla="*/ 786062 h 812130"/>
                  <a:gd name="connsiteX11" fmla="*/ 325005 w 1199551"/>
                  <a:gd name="connsiteY11" fmla="*/ 437147 h 812130"/>
                  <a:gd name="connsiteX0" fmla="*/ 298520 w 1199551"/>
                  <a:gd name="connsiteY0" fmla="*/ 449178 h 812130"/>
                  <a:gd name="connsiteX1" fmla="*/ 346646 w 1199551"/>
                  <a:gd name="connsiteY1" fmla="*/ 561473 h 812130"/>
                  <a:gd name="connsiteX2" fmla="*/ 699572 w 1199551"/>
                  <a:gd name="connsiteY2" fmla="*/ 240631 h 812130"/>
                  <a:gd name="connsiteX3" fmla="*/ 795825 w 1199551"/>
                  <a:gd name="connsiteY3" fmla="*/ 433136 h 812130"/>
                  <a:gd name="connsiteX4" fmla="*/ 1100625 w 1199551"/>
                  <a:gd name="connsiteY4" fmla="*/ 48126 h 812130"/>
                  <a:gd name="connsiteX5" fmla="*/ 1148751 w 1199551"/>
                  <a:gd name="connsiteY5" fmla="*/ 144378 h 812130"/>
                  <a:gd name="connsiteX6" fmla="*/ 795825 w 1199551"/>
                  <a:gd name="connsiteY6" fmla="*/ 625641 h 812130"/>
                  <a:gd name="connsiteX7" fmla="*/ 683530 w 1199551"/>
                  <a:gd name="connsiteY7" fmla="*/ 417094 h 812130"/>
                  <a:gd name="connsiteX8" fmla="*/ 330604 w 1199551"/>
                  <a:gd name="connsiteY8" fmla="*/ 753978 h 812130"/>
                  <a:gd name="connsiteX9" fmla="*/ 266435 w 1199551"/>
                  <a:gd name="connsiteY9" fmla="*/ 593557 h 812130"/>
                  <a:gd name="connsiteX10" fmla="*/ 9762 w 1199551"/>
                  <a:gd name="connsiteY10" fmla="*/ 786062 h 812130"/>
                  <a:gd name="connsiteX11" fmla="*/ 325005 w 1199551"/>
                  <a:gd name="connsiteY11" fmla="*/ 437147 h 812130"/>
                  <a:gd name="connsiteX12" fmla="*/ 298520 w 1199551"/>
                  <a:gd name="connsiteY12" fmla="*/ 449178 h 812130"/>
                  <a:gd name="connsiteX0" fmla="*/ 325005 w 1199551"/>
                  <a:gd name="connsiteY0" fmla="*/ 437147 h 812130"/>
                  <a:gd name="connsiteX1" fmla="*/ 346646 w 1199551"/>
                  <a:gd name="connsiteY1" fmla="*/ 561473 h 812130"/>
                  <a:gd name="connsiteX2" fmla="*/ 699572 w 1199551"/>
                  <a:gd name="connsiteY2" fmla="*/ 240631 h 812130"/>
                  <a:gd name="connsiteX3" fmla="*/ 795825 w 1199551"/>
                  <a:gd name="connsiteY3" fmla="*/ 433136 h 812130"/>
                  <a:gd name="connsiteX4" fmla="*/ 1100625 w 1199551"/>
                  <a:gd name="connsiteY4" fmla="*/ 48126 h 812130"/>
                  <a:gd name="connsiteX5" fmla="*/ 1148751 w 1199551"/>
                  <a:gd name="connsiteY5" fmla="*/ 144378 h 812130"/>
                  <a:gd name="connsiteX6" fmla="*/ 795825 w 1199551"/>
                  <a:gd name="connsiteY6" fmla="*/ 625641 h 812130"/>
                  <a:gd name="connsiteX7" fmla="*/ 683530 w 1199551"/>
                  <a:gd name="connsiteY7" fmla="*/ 417094 h 812130"/>
                  <a:gd name="connsiteX8" fmla="*/ 330604 w 1199551"/>
                  <a:gd name="connsiteY8" fmla="*/ 753978 h 812130"/>
                  <a:gd name="connsiteX9" fmla="*/ 266435 w 1199551"/>
                  <a:gd name="connsiteY9" fmla="*/ 593557 h 812130"/>
                  <a:gd name="connsiteX10" fmla="*/ 9762 w 1199551"/>
                  <a:gd name="connsiteY10" fmla="*/ 786062 h 812130"/>
                  <a:gd name="connsiteX11" fmla="*/ 325005 w 1199551"/>
                  <a:gd name="connsiteY11" fmla="*/ 437147 h 812130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89789"/>
                  <a:gd name="connsiteY0" fmla="*/ 437147 h 786062"/>
                  <a:gd name="connsiteX1" fmla="*/ 336884 w 1189789"/>
                  <a:gd name="connsiteY1" fmla="*/ 561473 h 786062"/>
                  <a:gd name="connsiteX2" fmla="*/ 689810 w 1189789"/>
                  <a:gd name="connsiteY2" fmla="*/ 240631 h 786062"/>
                  <a:gd name="connsiteX3" fmla="*/ 786063 w 1189789"/>
                  <a:gd name="connsiteY3" fmla="*/ 433136 h 786062"/>
                  <a:gd name="connsiteX4" fmla="*/ 1090863 w 1189789"/>
                  <a:gd name="connsiteY4" fmla="*/ 48126 h 786062"/>
                  <a:gd name="connsiteX5" fmla="*/ 1138989 w 1189789"/>
                  <a:gd name="connsiteY5" fmla="*/ 144378 h 786062"/>
                  <a:gd name="connsiteX6" fmla="*/ 786063 w 1189789"/>
                  <a:gd name="connsiteY6" fmla="*/ 625641 h 786062"/>
                  <a:gd name="connsiteX7" fmla="*/ 673768 w 1189789"/>
                  <a:gd name="connsiteY7" fmla="*/ 417094 h 786062"/>
                  <a:gd name="connsiteX8" fmla="*/ 320842 w 1189789"/>
                  <a:gd name="connsiteY8" fmla="*/ 753978 h 786062"/>
                  <a:gd name="connsiteX9" fmla="*/ 256673 w 1189789"/>
                  <a:gd name="connsiteY9" fmla="*/ 593557 h 786062"/>
                  <a:gd name="connsiteX10" fmla="*/ 0 w 1189789"/>
                  <a:gd name="connsiteY10" fmla="*/ 786062 h 786062"/>
                  <a:gd name="connsiteX11" fmla="*/ 315243 w 1189789"/>
                  <a:gd name="connsiteY11" fmla="*/ 437147 h 786062"/>
                  <a:gd name="connsiteX0" fmla="*/ 315243 w 1138989"/>
                  <a:gd name="connsiteY0" fmla="*/ 389021 h 737936"/>
                  <a:gd name="connsiteX1" fmla="*/ 336884 w 1138989"/>
                  <a:gd name="connsiteY1" fmla="*/ 513347 h 737936"/>
                  <a:gd name="connsiteX2" fmla="*/ 689810 w 1138989"/>
                  <a:gd name="connsiteY2" fmla="*/ 192505 h 737936"/>
                  <a:gd name="connsiteX3" fmla="*/ 786063 w 1138989"/>
                  <a:gd name="connsiteY3" fmla="*/ 385010 h 737936"/>
                  <a:gd name="connsiteX4" fmla="*/ 1090863 w 1138989"/>
                  <a:gd name="connsiteY4" fmla="*/ 0 h 737936"/>
                  <a:gd name="connsiteX5" fmla="*/ 1138989 w 1138989"/>
                  <a:gd name="connsiteY5" fmla="*/ 96252 h 737936"/>
                  <a:gd name="connsiteX6" fmla="*/ 786063 w 1138989"/>
                  <a:gd name="connsiteY6" fmla="*/ 577515 h 737936"/>
                  <a:gd name="connsiteX7" fmla="*/ 673768 w 1138989"/>
                  <a:gd name="connsiteY7" fmla="*/ 368968 h 737936"/>
                  <a:gd name="connsiteX8" fmla="*/ 320842 w 1138989"/>
                  <a:gd name="connsiteY8" fmla="*/ 705852 h 737936"/>
                  <a:gd name="connsiteX9" fmla="*/ 256673 w 1138989"/>
                  <a:gd name="connsiteY9" fmla="*/ 545431 h 737936"/>
                  <a:gd name="connsiteX10" fmla="*/ 0 w 1138989"/>
                  <a:gd name="connsiteY10" fmla="*/ 737936 h 737936"/>
                  <a:gd name="connsiteX11" fmla="*/ 315243 w 1138989"/>
                  <a:gd name="connsiteY11" fmla="*/ 389021 h 737936"/>
                  <a:gd name="connsiteX0" fmla="*/ 315243 w 1138989"/>
                  <a:gd name="connsiteY0" fmla="*/ 389021 h 737936"/>
                  <a:gd name="connsiteX1" fmla="*/ 336884 w 1138989"/>
                  <a:gd name="connsiteY1" fmla="*/ 513347 h 737936"/>
                  <a:gd name="connsiteX2" fmla="*/ 689810 w 1138989"/>
                  <a:gd name="connsiteY2" fmla="*/ 192505 h 737936"/>
                  <a:gd name="connsiteX3" fmla="*/ 786063 w 1138989"/>
                  <a:gd name="connsiteY3" fmla="*/ 385010 h 737936"/>
                  <a:gd name="connsiteX4" fmla="*/ 1090863 w 1138989"/>
                  <a:gd name="connsiteY4" fmla="*/ 0 h 737936"/>
                  <a:gd name="connsiteX5" fmla="*/ 1138989 w 1138989"/>
                  <a:gd name="connsiteY5" fmla="*/ 96252 h 737936"/>
                  <a:gd name="connsiteX6" fmla="*/ 783124 w 1138989"/>
                  <a:gd name="connsiteY6" fmla="*/ 579778 h 737936"/>
                  <a:gd name="connsiteX7" fmla="*/ 673768 w 1138989"/>
                  <a:gd name="connsiteY7" fmla="*/ 368968 h 737936"/>
                  <a:gd name="connsiteX8" fmla="*/ 320842 w 1138989"/>
                  <a:gd name="connsiteY8" fmla="*/ 705852 h 737936"/>
                  <a:gd name="connsiteX9" fmla="*/ 256673 w 1138989"/>
                  <a:gd name="connsiteY9" fmla="*/ 545431 h 737936"/>
                  <a:gd name="connsiteX10" fmla="*/ 0 w 1138989"/>
                  <a:gd name="connsiteY10" fmla="*/ 737936 h 737936"/>
                  <a:gd name="connsiteX11" fmla="*/ 315243 w 1138989"/>
                  <a:gd name="connsiteY11" fmla="*/ 389021 h 737936"/>
                  <a:gd name="connsiteX0" fmla="*/ 315243 w 1138989"/>
                  <a:gd name="connsiteY0" fmla="*/ 389021 h 737936"/>
                  <a:gd name="connsiteX1" fmla="*/ 336884 w 1138989"/>
                  <a:gd name="connsiteY1" fmla="*/ 513347 h 737936"/>
                  <a:gd name="connsiteX2" fmla="*/ 689810 w 1138989"/>
                  <a:gd name="connsiteY2" fmla="*/ 192505 h 737936"/>
                  <a:gd name="connsiteX3" fmla="*/ 786063 w 1138989"/>
                  <a:gd name="connsiteY3" fmla="*/ 385010 h 737936"/>
                  <a:gd name="connsiteX4" fmla="*/ 1090863 w 1138989"/>
                  <a:gd name="connsiteY4" fmla="*/ 0 h 737936"/>
                  <a:gd name="connsiteX5" fmla="*/ 1138989 w 1138989"/>
                  <a:gd name="connsiteY5" fmla="*/ 96252 h 737936"/>
                  <a:gd name="connsiteX6" fmla="*/ 783124 w 1138989"/>
                  <a:gd name="connsiteY6" fmla="*/ 579778 h 737936"/>
                  <a:gd name="connsiteX7" fmla="*/ 673768 w 1138989"/>
                  <a:gd name="connsiteY7" fmla="*/ 368968 h 737936"/>
                  <a:gd name="connsiteX8" fmla="*/ 283198 w 1138989"/>
                  <a:gd name="connsiteY8" fmla="*/ 703589 h 737936"/>
                  <a:gd name="connsiteX9" fmla="*/ 256673 w 1138989"/>
                  <a:gd name="connsiteY9" fmla="*/ 545431 h 737936"/>
                  <a:gd name="connsiteX10" fmla="*/ 0 w 1138989"/>
                  <a:gd name="connsiteY10" fmla="*/ 737936 h 737936"/>
                  <a:gd name="connsiteX11" fmla="*/ 315243 w 1138989"/>
                  <a:gd name="connsiteY11" fmla="*/ 389021 h 737936"/>
                  <a:gd name="connsiteX0" fmla="*/ 315243 w 1138989"/>
                  <a:gd name="connsiteY0" fmla="*/ 389021 h 740557"/>
                  <a:gd name="connsiteX1" fmla="*/ 336884 w 1138989"/>
                  <a:gd name="connsiteY1" fmla="*/ 513347 h 740557"/>
                  <a:gd name="connsiteX2" fmla="*/ 689810 w 1138989"/>
                  <a:gd name="connsiteY2" fmla="*/ 192505 h 740557"/>
                  <a:gd name="connsiteX3" fmla="*/ 786063 w 1138989"/>
                  <a:gd name="connsiteY3" fmla="*/ 385010 h 740557"/>
                  <a:gd name="connsiteX4" fmla="*/ 1090863 w 1138989"/>
                  <a:gd name="connsiteY4" fmla="*/ 0 h 740557"/>
                  <a:gd name="connsiteX5" fmla="*/ 1138989 w 1138989"/>
                  <a:gd name="connsiteY5" fmla="*/ 96252 h 740557"/>
                  <a:gd name="connsiteX6" fmla="*/ 783124 w 1138989"/>
                  <a:gd name="connsiteY6" fmla="*/ 579778 h 740557"/>
                  <a:gd name="connsiteX7" fmla="*/ 673768 w 1138989"/>
                  <a:gd name="connsiteY7" fmla="*/ 368968 h 740557"/>
                  <a:gd name="connsiteX8" fmla="*/ 303647 w 1138989"/>
                  <a:gd name="connsiteY8" fmla="*/ 740557 h 740557"/>
                  <a:gd name="connsiteX9" fmla="*/ 256673 w 1138989"/>
                  <a:gd name="connsiteY9" fmla="*/ 545431 h 740557"/>
                  <a:gd name="connsiteX10" fmla="*/ 0 w 1138989"/>
                  <a:gd name="connsiteY10" fmla="*/ 737936 h 740557"/>
                  <a:gd name="connsiteX11" fmla="*/ 315243 w 1138989"/>
                  <a:gd name="connsiteY11" fmla="*/ 389021 h 740557"/>
                  <a:gd name="connsiteX0" fmla="*/ 315243 w 1138989"/>
                  <a:gd name="connsiteY0" fmla="*/ 389021 h 740557"/>
                  <a:gd name="connsiteX1" fmla="*/ 362615 w 1138989"/>
                  <a:gd name="connsiteY1" fmla="*/ 558614 h 740557"/>
                  <a:gd name="connsiteX2" fmla="*/ 689810 w 1138989"/>
                  <a:gd name="connsiteY2" fmla="*/ 192505 h 740557"/>
                  <a:gd name="connsiteX3" fmla="*/ 786063 w 1138989"/>
                  <a:gd name="connsiteY3" fmla="*/ 385010 h 740557"/>
                  <a:gd name="connsiteX4" fmla="*/ 1090863 w 1138989"/>
                  <a:gd name="connsiteY4" fmla="*/ 0 h 740557"/>
                  <a:gd name="connsiteX5" fmla="*/ 1138989 w 1138989"/>
                  <a:gd name="connsiteY5" fmla="*/ 96252 h 740557"/>
                  <a:gd name="connsiteX6" fmla="*/ 783124 w 1138989"/>
                  <a:gd name="connsiteY6" fmla="*/ 579778 h 740557"/>
                  <a:gd name="connsiteX7" fmla="*/ 673768 w 1138989"/>
                  <a:gd name="connsiteY7" fmla="*/ 368968 h 740557"/>
                  <a:gd name="connsiteX8" fmla="*/ 303647 w 1138989"/>
                  <a:gd name="connsiteY8" fmla="*/ 740557 h 740557"/>
                  <a:gd name="connsiteX9" fmla="*/ 256673 w 1138989"/>
                  <a:gd name="connsiteY9" fmla="*/ 545431 h 740557"/>
                  <a:gd name="connsiteX10" fmla="*/ 0 w 1138989"/>
                  <a:gd name="connsiteY10" fmla="*/ 737936 h 740557"/>
                  <a:gd name="connsiteX11" fmla="*/ 315243 w 1138989"/>
                  <a:gd name="connsiteY11" fmla="*/ 389021 h 740557"/>
                  <a:gd name="connsiteX0" fmla="*/ 315243 w 1183581"/>
                  <a:gd name="connsiteY0" fmla="*/ 389021 h 740557"/>
                  <a:gd name="connsiteX1" fmla="*/ 362615 w 1183581"/>
                  <a:gd name="connsiteY1" fmla="*/ 558614 h 740557"/>
                  <a:gd name="connsiteX2" fmla="*/ 689810 w 1183581"/>
                  <a:gd name="connsiteY2" fmla="*/ 192505 h 740557"/>
                  <a:gd name="connsiteX3" fmla="*/ 786063 w 1183581"/>
                  <a:gd name="connsiteY3" fmla="*/ 385010 h 740557"/>
                  <a:gd name="connsiteX4" fmla="*/ 1090863 w 1183581"/>
                  <a:gd name="connsiteY4" fmla="*/ 0 h 740557"/>
                  <a:gd name="connsiteX5" fmla="*/ 1183581 w 1183581"/>
                  <a:gd name="connsiteY5" fmla="*/ 149064 h 740557"/>
                  <a:gd name="connsiteX6" fmla="*/ 783124 w 1183581"/>
                  <a:gd name="connsiteY6" fmla="*/ 579778 h 740557"/>
                  <a:gd name="connsiteX7" fmla="*/ 673768 w 1183581"/>
                  <a:gd name="connsiteY7" fmla="*/ 368968 h 740557"/>
                  <a:gd name="connsiteX8" fmla="*/ 303647 w 1183581"/>
                  <a:gd name="connsiteY8" fmla="*/ 740557 h 740557"/>
                  <a:gd name="connsiteX9" fmla="*/ 256673 w 1183581"/>
                  <a:gd name="connsiteY9" fmla="*/ 545431 h 740557"/>
                  <a:gd name="connsiteX10" fmla="*/ 0 w 1183581"/>
                  <a:gd name="connsiteY10" fmla="*/ 737936 h 740557"/>
                  <a:gd name="connsiteX11" fmla="*/ 315243 w 1183581"/>
                  <a:gd name="connsiteY11" fmla="*/ 389021 h 740557"/>
                  <a:gd name="connsiteX0" fmla="*/ 315243 w 1183581"/>
                  <a:gd name="connsiteY0" fmla="*/ 353562 h 705098"/>
                  <a:gd name="connsiteX1" fmla="*/ 362615 w 1183581"/>
                  <a:gd name="connsiteY1" fmla="*/ 523155 h 705098"/>
                  <a:gd name="connsiteX2" fmla="*/ 689810 w 1183581"/>
                  <a:gd name="connsiteY2" fmla="*/ 157046 h 705098"/>
                  <a:gd name="connsiteX3" fmla="*/ 786063 w 1183581"/>
                  <a:gd name="connsiteY3" fmla="*/ 349551 h 705098"/>
                  <a:gd name="connsiteX4" fmla="*/ 1115085 w 1183581"/>
                  <a:gd name="connsiteY4" fmla="*/ 0 h 705098"/>
                  <a:gd name="connsiteX5" fmla="*/ 1183581 w 1183581"/>
                  <a:gd name="connsiteY5" fmla="*/ 113605 h 705098"/>
                  <a:gd name="connsiteX6" fmla="*/ 783124 w 1183581"/>
                  <a:gd name="connsiteY6" fmla="*/ 544319 h 705098"/>
                  <a:gd name="connsiteX7" fmla="*/ 673768 w 1183581"/>
                  <a:gd name="connsiteY7" fmla="*/ 333509 h 705098"/>
                  <a:gd name="connsiteX8" fmla="*/ 303647 w 1183581"/>
                  <a:gd name="connsiteY8" fmla="*/ 705098 h 705098"/>
                  <a:gd name="connsiteX9" fmla="*/ 256673 w 1183581"/>
                  <a:gd name="connsiteY9" fmla="*/ 509972 h 705098"/>
                  <a:gd name="connsiteX10" fmla="*/ 0 w 1183581"/>
                  <a:gd name="connsiteY10" fmla="*/ 702477 h 705098"/>
                  <a:gd name="connsiteX11" fmla="*/ 315243 w 1183581"/>
                  <a:gd name="connsiteY11" fmla="*/ 353562 h 705098"/>
                  <a:gd name="connsiteX0" fmla="*/ 410652 w 1278990"/>
                  <a:gd name="connsiteY0" fmla="*/ 353562 h 705098"/>
                  <a:gd name="connsiteX1" fmla="*/ 458024 w 1278990"/>
                  <a:gd name="connsiteY1" fmla="*/ 523155 h 705098"/>
                  <a:gd name="connsiteX2" fmla="*/ 785219 w 1278990"/>
                  <a:gd name="connsiteY2" fmla="*/ 157046 h 705098"/>
                  <a:gd name="connsiteX3" fmla="*/ 881472 w 1278990"/>
                  <a:gd name="connsiteY3" fmla="*/ 349551 h 705098"/>
                  <a:gd name="connsiteX4" fmla="*/ 1210494 w 1278990"/>
                  <a:gd name="connsiteY4" fmla="*/ 0 h 705098"/>
                  <a:gd name="connsiteX5" fmla="*/ 1278990 w 1278990"/>
                  <a:gd name="connsiteY5" fmla="*/ 113605 h 705098"/>
                  <a:gd name="connsiteX6" fmla="*/ 878533 w 1278990"/>
                  <a:gd name="connsiteY6" fmla="*/ 544319 h 705098"/>
                  <a:gd name="connsiteX7" fmla="*/ 769177 w 1278990"/>
                  <a:gd name="connsiteY7" fmla="*/ 333509 h 705098"/>
                  <a:gd name="connsiteX8" fmla="*/ 399056 w 1278990"/>
                  <a:gd name="connsiteY8" fmla="*/ 705098 h 705098"/>
                  <a:gd name="connsiteX9" fmla="*/ 352082 w 1278990"/>
                  <a:gd name="connsiteY9" fmla="*/ 509972 h 705098"/>
                  <a:gd name="connsiteX10" fmla="*/ 0 w 1278990"/>
                  <a:gd name="connsiteY10" fmla="*/ 645470 h 705098"/>
                  <a:gd name="connsiteX11" fmla="*/ 410652 w 1278990"/>
                  <a:gd name="connsiteY11" fmla="*/ 353562 h 705098"/>
                  <a:gd name="connsiteX0" fmla="*/ 334246 w 1278990"/>
                  <a:gd name="connsiteY0" fmla="*/ 353562 h 705098"/>
                  <a:gd name="connsiteX1" fmla="*/ 458024 w 1278990"/>
                  <a:gd name="connsiteY1" fmla="*/ 523155 h 705098"/>
                  <a:gd name="connsiteX2" fmla="*/ 785219 w 1278990"/>
                  <a:gd name="connsiteY2" fmla="*/ 157046 h 705098"/>
                  <a:gd name="connsiteX3" fmla="*/ 881472 w 1278990"/>
                  <a:gd name="connsiteY3" fmla="*/ 349551 h 705098"/>
                  <a:gd name="connsiteX4" fmla="*/ 1210494 w 1278990"/>
                  <a:gd name="connsiteY4" fmla="*/ 0 h 705098"/>
                  <a:gd name="connsiteX5" fmla="*/ 1278990 w 1278990"/>
                  <a:gd name="connsiteY5" fmla="*/ 113605 h 705098"/>
                  <a:gd name="connsiteX6" fmla="*/ 878533 w 1278990"/>
                  <a:gd name="connsiteY6" fmla="*/ 544319 h 705098"/>
                  <a:gd name="connsiteX7" fmla="*/ 769177 w 1278990"/>
                  <a:gd name="connsiteY7" fmla="*/ 333509 h 705098"/>
                  <a:gd name="connsiteX8" fmla="*/ 399056 w 1278990"/>
                  <a:gd name="connsiteY8" fmla="*/ 705098 h 705098"/>
                  <a:gd name="connsiteX9" fmla="*/ 352082 w 1278990"/>
                  <a:gd name="connsiteY9" fmla="*/ 509972 h 705098"/>
                  <a:gd name="connsiteX10" fmla="*/ 0 w 1278990"/>
                  <a:gd name="connsiteY10" fmla="*/ 645470 h 705098"/>
                  <a:gd name="connsiteX11" fmla="*/ 334246 w 1278990"/>
                  <a:gd name="connsiteY11" fmla="*/ 353562 h 705098"/>
                  <a:gd name="connsiteX0" fmla="*/ 334246 w 1278990"/>
                  <a:gd name="connsiteY0" fmla="*/ 353562 h 705098"/>
                  <a:gd name="connsiteX1" fmla="*/ 458024 w 1278990"/>
                  <a:gd name="connsiteY1" fmla="*/ 523155 h 705098"/>
                  <a:gd name="connsiteX2" fmla="*/ 785219 w 1278990"/>
                  <a:gd name="connsiteY2" fmla="*/ 157046 h 705098"/>
                  <a:gd name="connsiteX3" fmla="*/ 881472 w 1278990"/>
                  <a:gd name="connsiteY3" fmla="*/ 349551 h 705098"/>
                  <a:gd name="connsiteX4" fmla="*/ 1210494 w 1278990"/>
                  <a:gd name="connsiteY4" fmla="*/ 0 h 705098"/>
                  <a:gd name="connsiteX5" fmla="*/ 1278990 w 1278990"/>
                  <a:gd name="connsiteY5" fmla="*/ 113605 h 705098"/>
                  <a:gd name="connsiteX6" fmla="*/ 878533 w 1278990"/>
                  <a:gd name="connsiteY6" fmla="*/ 544319 h 705098"/>
                  <a:gd name="connsiteX7" fmla="*/ 769177 w 1278990"/>
                  <a:gd name="connsiteY7" fmla="*/ 333509 h 705098"/>
                  <a:gd name="connsiteX8" fmla="*/ 399056 w 1278990"/>
                  <a:gd name="connsiteY8" fmla="*/ 705098 h 705098"/>
                  <a:gd name="connsiteX9" fmla="*/ 323110 w 1278990"/>
                  <a:gd name="connsiteY9" fmla="*/ 454347 h 705098"/>
                  <a:gd name="connsiteX10" fmla="*/ 0 w 1278990"/>
                  <a:gd name="connsiteY10" fmla="*/ 645470 h 705098"/>
                  <a:gd name="connsiteX11" fmla="*/ 334246 w 1278990"/>
                  <a:gd name="connsiteY11" fmla="*/ 353562 h 705098"/>
                  <a:gd name="connsiteX0" fmla="*/ 334246 w 1278990"/>
                  <a:gd name="connsiteY0" fmla="*/ 353562 h 689205"/>
                  <a:gd name="connsiteX1" fmla="*/ 458024 w 1278990"/>
                  <a:gd name="connsiteY1" fmla="*/ 523155 h 689205"/>
                  <a:gd name="connsiteX2" fmla="*/ 785219 w 1278990"/>
                  <a:gd name="connsiteY2" fmla="*/ 157046 h 689205"/>
                  <a:gd name="connsiteX3" fmla="*/ 881472 w 1278990"/>
                  <a:gd name="connsiteY3" fmla="*/ 349551 h 689205"/>
                  <a:gd name="connsiteX4" fmla="*/ 1210494 w 1278990"/>
                  <a:gd name="connsiteY4" fmla="*/ 0 h 689205"/>
                  <a:gd name="connsiteX5" fmla="*/ 1278990 w 1278990"/>
                  <a:gd name="connsiteY5" fmla="*/ 113605 h 689205"/>
                  <a:gd name="connsiteX6" fmla="*/ 878533 w 1278990"/>
                  <a:gd name="connsiteY6" fmla="*/ 544319 h 689205"/>
                  <a:gd name="connsiteX7" fmla="*/ 769177 w 1278990"/>
                  <a:gd name="connsiteY7" fmla="*/ 333509 h 689205"/>
                  <a:gd name="connsiteX8" fmla="*/ 456460 w 1278990"/>
                  <a:gd name="connsiteY8" fmla="*/ 689205 h 689205"/>
                  <a:gd name="connsiteX9" fmla="*/ 323110 w 1278990"/>
                  <a:gd name="connsiteY9" fmla="*/ 454347 h 689205"/>
                  <a:gd name="connsiteX10" fmla="*/ 0 w 1278990"/>
                  <a:gd name="connsiteY10" fmla="*/ 645470 h 689205"/>
                  <a:gd name="connsiteX11" fmla="*/ 334246 w 1278990"/>
                  <a:gd name="connsiteY11" fmla="*/ 353562 h 689205"/>
                  <a:gd name="connsiteX0" fmla="*/ 334246 w 1278990"/>
                  <a:gd name="connsiteY0" fmla="*/ 353562 h 689205"/>
                  <a:gd name="connsiteX1" fmla="*/ 458024 w 1278990"/>
                  <a:gd name="connsiteY1" fmla="*/ 523155 h 689205"/>
                  <a:gd name="connsiteX2" fmla="*/ 785219 w 1278990"/>
                  <a:gd name="connsiteY2" fmla="*/ 157046 h 689205"/>
                  <a:gd name="connsiteX3" fmla="*/ 881472 w 1278990"/>
                  <a:gd name="connsiteY3" fmla="*/ 349551 h 689205"/>
                  <a:gd name="connsiteX4" fmla="*/ 1210494 w 1278990"/>
                  <a:gd name="connsiteY4" fmla="*/ 0 h 689205"/>
                  <a:gd name="connsiteX5" fmla="*/ 1278990 w 1278990"/>
                  <a:gd name="connsiteY5" fmla="*/ 113605 h 689205"/>
                  <a:gd name="connsiteX6" fmla="*/ 878533 w 1278990"/>
                  <a:gd name="connsiteY6" fmla="*/ 544319 h 689205"/>
                  <a:gd name="connsiteX7" fmla="*/ 769177 w 1278990"/>
                  <a:gd name="connsiteY7" fmla="*/ 333509 h 689205"/>
                  <a:gd name="connsiteX8" fmla="*/ 456460 w 1278990"/>
                  <a:gd name="connsiteY8" fmla="*/ 689205 h 689205"/>
                  <a:gd name="connsiteX9" fmla="*/ 303122 w 1278990"/>
                  <a:gd name="connsiteY9" fmla="*/ 474041 h 689205"/>
                  <a:gd name="connsiteX10" fmla="*/ 0 w 1278990"/>
                  <a:gd name="connsiteY10" fmla="*/ 645470 h 689205"/>
                  <a:gd name="connsiteX11" fmla="*/ 334246 w 1278990"/>
                  <a:gd name="connsiteY11" fmla="*/ 353562 h 689205"/>
                  <a:gd name="connsiteX0" fmla="*/ 334246 w 1278990"/>
                  <a:gd name="connsiteY0" fmla="*/ 353562 h 689205"/>
                  <a:gd name="connsiteX1" fmla="*/ 458024 w 1278990"/>
                  <a:gd name="connsiteY1" fmla="*/ 523155 h 689205"/>
                  <a:gd name="connsiteX2" fmla="*/ 785219 w 1278990"/>
                  <a:gd name="connsiteY2" fmla="*/ 157046 h 689205"/>
                  <a:gd name="connsiteX3" fmla="*/ 881472 w 1278990"/>
                  <a:gd name="connsiteY3" fmla="*/ 349551 h 689205"/>
                  <a:gd name="connsiteX4" fmla="*/ 1210494 w 1278990"/>
                  <a:gd name="connsiteY4" fmla="*/ 0 h 689205"/>
                  <a:gd name="connsiteX5" fmla="*/ 1278990 w 1278990"/>
                  <a:gd name="connsiteY5" fmla="*/ 113605 h 689205"/>
                  <a:gd name="connsiteX6" fmla="*/ 950102 w 1278990"/>
                  <a:gd name="connsiteY6" fmla="*/ 562630 h 689205"/>
                  <a:gd name="connsiteX7" fmla="*/ 769177 w 1278990"/>
                  <a:gd name="connsiteY7" fmla="*/ 333509 h 689205"/>
                  <a:gd name="connsiteX8" fmla="*/ 456460 w 1278990"/>
                  <a:gd name="connsiteY8" fmla="*/ 689205 h 689205"/>
                  <a:gd name="connsiteX9" fmla="*/ 303122 w 1278990"/>
                  <a:gd name="connsiteY9" fmla="*/ 474041 h 689205"/>
                  <a:gd name="connsiteX10" fmla="*/ 0 w 1278990"/>
                  <a:gd name="connsiteY10" fmla="*/ 645470 h 689205"/>
                  <a:gd name="connsiteX11" fmla="*/ 334246 w 1278990"/>
                  <a:gd name="connsiteY11" fmla="*/ 353562 h 689205"/>
                  <a:gd name="connsiteX0" fmla="*/ 334246 w 1278990"/>
                  <a:gd name="connsiteY0" fmla="*/ 353562 h 689205"/>
                  <a:gd name="connsiteX1" fmla="*/ 458024 w 1278990"/>
                  <a:gd name="connsiteY1" fmla="*/ 523155 h 689205"/>
                  <a:gd name="connsiteX2" fmla="*/ 785219 w 1278990"/>
                  <a:gd name="connsiteY2" fmla="*/ 157046 h 689205"/>
                  <a:gd name="connsiteX3" fmla="*/ 963060 w 1278990"/>
                  <a:gd name="connsiteY3" fmla="*/ 396193 h 689205"/>
                  <a:gd name="connsiteX4" fmla="*/ 1210494 w 1278990"/>
                  <a:gd name="connsiteY4" fmla="*/ 0 h 689205"/>
                  <a:gd name="connsiteX5" fmla="*/ 1278990 w 1278990"/>
                  <a:gd name="connsiteY5" fmla="*/ 113605 h 689205"/>
                  <a:gd name="connsiteX6" fmla="*/ 950102 w 1278990"/>
                  <a:gd name="connsiteY6" fmla="*/ 562630 h 689205"/>
                  <a:gd name="connsiteX7" fmla="*/ 769177 w 1278990"/>
                  <a:gd name="connsiteY7" fmla="*/ 333509 h 689205"/>
                  <a:gd name="connsiteX8" fmla="*/ 456460 w 1278990"/>
                  <a:gd name="connsiteY8" fmla="*/ 689205 h 689205"/>
                  <a:gd name="connsiteX9" fmla="*/ 303122 w 1278990"/>
                  <a:gd name="connsiteY9" fmla="*/ 474041 h 689205"/>
                  <a:gd name="connsiteX10" fmla="*/ 0 w 1278990"/>
                  <a:gd name="connsiteY10" fmla="*/ 645470 h 689205"/>
                  <a:gd name="connsiteX11" fmla="*/ 334246 w 1278990"/>
                  <a:gd name="connsiteY11" fmla="*/ 353562 h 689205"/>
                  <a:gd name="connsiteX0" fmla="*/ 334246 w 1278990"/>
                  <a:gd name="connsiteY0" fmla="*/ 353562 h 689205"/>
                  <a:gd name="connsiteX1" fmla="*/ 458024 w 1278990"/>
                  <a:gd name="connsiteY1" fmla="*/ 523155 h 689205"/>
                  <a:gd name="connsiteX2" fmla="*/ 769377 w 1278990"/>
                  <a:gd name="connsiteY2" fmla="*/ 182267 h 689205"/>
                  <a:gd name="connsiteX3" fmla="*/ 963060 w 1278990"/>
                  <a:gd name="connsiteY3" fmla="*/ 396193 h 689205"/>
                  <a:gd name="connsiteX4" fmla="*/ 1210494 w 1278990"/>
                  <a:gd name="connsiteY4" fmla="*/ 0 h 689205"/>
                  <a:gd name="connsiteX5" fmla="*/ 1278990 w 1278990"/>
                  <a:gd name="connsiteY5" fmla="*/ 113605 h 689205"/>
                  <a:gd name="connsiteX6" fmla="*/ 950102 w 1278990"/>
                  <a:gd name="connsiteY6" fmla="*/ 562630 h 689205"/>
                  <a:gd name="connsiteX7" fmla="*/ 769177 w 1278990"/>
                  <a:gd name="connsiteY7" fmla="*/ 333509 h 689205"/>
                  <a:gd name="connsiteX8" fmla="*/ 456460 w 1278990"/>
                  <a:gd name="connsiteY8" fmla="*/ 689205 h 689205"/>
                  <a:gd name="connsiteX9" fmla="*/ 303122 w 1278990"/>
                  <a:gd name="connsiteY9" fmla="*/ 474041 h 689205"/>
                  <a:gd name="connsiteX10" fmla="*/ 0 w 1278990"/>
                  <a:gd name="connsiteY10" fmla="*/ 645470 h 689205"/>
                  <a:gd name="connsiteX11" fmla="*/ 334246 w 1278990"/>
                  <a:gd name="connsiteY11" fmla="*/ 353562 h 689205"/>
                  <a:gd name="connsiteX0" fmla="*/ 329704 w 1274448"/>
                  <a:gd name="connsiteY0" fmla="*/ 353562 h 693149"/>
                  <a:gd name="connsiteX1" fmla="*/ 453482 w 1274448"/>
                  <a:gd name="connsiteY1" fmla="*/ 523155 h 693149"/>
                  <a:gd name="connsiteX2" fmla="*/ 764835 w 1274448"/>
                  <a:gd name="connsiteY2" fmla="*/ 182267 h 693149"/>
                  <a:gd name="connsiteX3" fmla="*/ 958518 w 1274448"/>
                  <a:gd name="connsiteY3" fmla="*/ 396193 h 693149"/>
                  <a:gd name="connsiteX4" fmla="*/ 1205952 w 1274448"/>
                  <a:gd name="connsiteY4" fmla="*/ 0 h 693149"/>
                  <a:gd name="connsiteX5" fmla="*/ 1274448 w 1274448"/>
                  <a:gd name="connsiteY5" fmla="*/ 113605 h 693149"/>
                  <a:gd name="connsiteX6" fmla="*/ 945560 w 1274448"/>
                  <a:gd name="connsiteY6" fmla="*/ 562630 h 693149"/>
                  <a:gd name="connsiteX7" fmla="*/ 764635 w 1274448"/>
                  <a:gd name="connsiteY7" fmla="*/ 333509 h 693149"/>
                  <a:gd name="connsiteX8" fmla="*/ 451918 w 1274448"/>
                  <a:gd name="connsiteY8" fmla="*/ 689205 h 693149"/>
                  <a:gd name="connsiteX9" fmla="*/ 298580 w 1274448"/>
                  <a:gd name="connsiteY9" fmla="*/ 474041 h 693149"/>
                  <a:gd name="connsiteX10" fmla="*/ 0 w 1274448"/>
                  <a:gd name="connsiteY10" fmla="*/ 693149 h 693149"/>
                  <a:gd name="connsiteX11" fmla="*/ 329704 w 1274448"/>
                  <a:gd name="connsiteY11" fmla="*/ 353562 h 693149"/>
                  <a:gd name="connsiteX0" fmla="*/ 329704 w 1274448"/>
                  <a:gd name="connsiteY0" fmla="*/ 353562 h 693149"/>
                  <a:gd name="connsiteX1" fmla="*/ 453482 w 1274448"/>
                  <a:gd name="connsiteY1" fmla="*/ 523155 h 693149"/>
                  <a:gd name="connsiteX2" fmla="*/ 764835 w 1274448"/>
                  <a:gd name="connsiteY2" fmla="*/ 182267 h 693149"/>
                  <a:gd name="connsiteX3" fmla="*/ 958518 w 1274448"/>
                  <a:gd name="connsiteY3" fmla="*/ 396193 h 693149"/>
                  <a:gd name="connsiteX4" fmla="*/ 1205952 w 1274448"/>
                  <a:gd name="connsiteY4" fmla="*/ 0 h 693149"/>
                  <a:gd name="connsiteX5" fmla="*/ 1274448 w 1274448"/>
                  <a:gd name="connsiteY5" fmla="*/ 113605 h 693149"/>
                  <a:gd name="connsiteX6" fmla="*/ 945560 w 1274448"/>
                  <a:gd name="connsiteY6" fmla="*/ 562630 h 693149"/>
                  <a:gd name="connsiteX7" fmla="*/ 764635 w 1274448"/>
                  <a:gd name="connsiteY7" fmla="*/ 333509 h 693149"/>
                  <a:gd name="connsiteX8" fmla="*/ 435730 w 1274448"/>
                  <a:gd name="connsiteY8" fmla="*/ 688169 h 693149"/>
                  <a:gd name="connsiteX9" fmla="*/ 298580 w 1274448"/>
                  <a:gd name="connsiteY9" fmla="*/ 474041 h 693149"/>
                  <a:gd name="connsiteX10" fmla="*/ 0 w 1274448"/>
                  <a:gd name="connsiteY10" fmla="*/ 693149 h 693149"/>
                  <a:gd name="connsiteX11" fmla="*/ 329704 w 1274448"/>
                  <a:gd name="connsiteY11" fmla="*/ 353562 h 693149"/>
                  <a:gd name="connsiteX0" fmla="*/ 329704 w 1315958"/>
                  <a:gd name="connsiteY0" fmla="*/ 353562 h 693149"/>
                  <a:gd name="connsiteX1" fmla="*/ 453482 w 1315958"/>
                  <a:gd name="connsiteY1" fmla="*/ 523155 h 693149"/>
                  <a:gd name="connsiteX2" fmla="*/ 764835 w 1315958"/>
                  <a:gd name="connsiteY2" fmla="*/ 182267 h 693149"/>
                  <a:gd name="connsiteX3" fmla="*/ 958518 w 1315958"/>
                  <a:gd name="connsiteY3" fmla="*/ 396193 h 693149"/>
                  <a:gd name="connsiteX4" fmla="*/ 1205952 w 1315958"/>
                  <a:gd name="connsiteY4" fmla="*/ 0 h 693149"/>
                  <a:gd name="connsiteX5" fmla="*/ 1315958 w 1315958"/>
                  <a:gd name="connsiteY5" fmla="*/ 191688 h 693149"/>
                  <a:gd name="connsiteX6" fmla="*/ 945560 w 1315958"/>
                  <a:gd name="connsiteY6" fmla="*/ 562630 h 693149"/>
                  <a:gd name="connsiteX7" fmla="*/ 764635 w 1315958"/>
                  <a:gd name="connsiteY7" fmla="*/ 333509 h 693149"/>
                  <a:gd name="connsiteX8" fmla="*/ 435730 w 1315958"/>
                  <a:gd name="connsiteY8" fmla="*/ 688169 h 693149"/>
                  <a:gd name="connsiteX9" fmla="*/ 298580 w 1315958"/>
                  <a:gd name="connsiteY9" fmla="*/ 474041 h 693149"/>
                  <a:gd name="connsiteX10" fmla="*/ 0 w 1315958"/>
                  <a:gd name="connsiteY10" fmla="*/ 693149 h 693149"/>
                  <a:gd name="connsiteX11" fmla="*/ 329704 w 1315958"/>
                  <a:gd name="connsiteY11" fmla="*/ 353562 h 693149"/>
                  <a:gd name="connsiteX0" fmla="*/ 329704 w 1315958"/>
                  <a:gd name="connsiteY0" fmla="*/ 236092 h 575679"/>
                  <a:gd name="connsiteX1" fmla="*/ 453482 w 1315958"/>
                  <a:gd name="connsiteY1" fmla="*/ 405685 h 575679"/>
                  <a:gd name="connsiteX2" fmla="*/ 764835 w 1315958"/>
                  <a:gd name="connsiteY2" fmla="*/ 64797 h 575679"/>
                  <a:gd name="connsiteX3" fmla="*/ 958518 w 1315958"/>
                  <a:gd name="connsiteY3" fmla="*/ 278723 h 575679"/>
                  <a:gd name="connsiteX4" fmla="*/ 1246426 w 1315958"/>
                  <a:gd name="connsiteY4" fmla="*/ 0 h 575679"/>
                  <a:gd name="connsiteX5" fmla="*/ 1315958 w 1315958"/>
                  <a:gd name="connsiteY5" fmla="*/ 74218 h 575679"/>
                  <a:gd name="connsiteX6" fmla="*/ 945560 w 1315958"/>
                  <a:gd name="connsiteY6" fmla="*/ 445160 h 575679"/>
                  <a:gd name="connsiteX7" fmla="*/ 764635 w 1315958"/>
                  <a:gd name="connsiteY7" fmla="*/ 216039 h 575679"/>
                  <a:gd name="connsiteX8" fmla="*/ 435730 w 1315958"/>
                  <a:gd name="connsiteY8" fmla="*/ 570699 h 575679"/>
                  <a:gd name="connsiteX9" fmla="*/ 298580 w 1315958"/>
                  <a:gd name="connsiteY9" fmla="*/ 356571 h 575679"/>
                  <a:gd name="connsiteX10" fmla="*/ 0 w 1315958"/>
                  <a:gd name="connsiteY10" fmla="*/ 575679 h 575679"/>
                  <a:gd name="connsiteX11" fmla="*/ 329704 w 1315958"/>
                  <a:gd name="connsiteY11" fmla="*/ 236092 h 575679"/>
                  <a:gd name="connsiteX0" fmla="*/ 329704 w 1315958"/>
                  <a:gd name="connsiteY0" fmla="*/ 257513 h 597100"/>
                  <a:gd name="connsiteX1" fmla="*/ 453482 w 1315958"/>
                  <a:gd name="connsiteY1" fmla="*/ 427106 h 597100"/>
                  <a:gd name="connsiteX2" fmla="*/ 764835 w 1315958"/>
                  <a:gd name="connsiteY2" fmla="*/ 86218 h 597100"/>
                  <a:gd name="connsiteX3" fmla="*/ 958518 w 1315958"/>
                  <a:gd name="connsiteY3" fmla="*/ 300144 h 597100"/>
                  <a:gd name="connsiteX4" fmla="*/ 1240603 w 1315958"/>
                  <a:gd name="connsiteY4" fmla="*/ 0 h 597100"/>
                  <a:gd name="connsiteX5" fmla="*/ 1315958 w 1315958"/>
                  <a:gd name="connsiteY5" fmla="*/ 95639 h 597100"/>
                  <a:gd name="connsiteX6" fmla="*/ 945560 w 1315958"/>
                  <a:gd name="connsiteY6" fmla="*/ 466581 h 597100"/>
                  <a:gd name="connsiteX7" fmla="*/ 764635 w 1315958"/>
                  <a:gd name="connsiteY7" fmla="*/ 237460 h 597100"/>
                  <a:gd name="connsiteX8" fmla="*/ 435730 w 1315958"/>
                  <a:gd name="connsiteY8" fmla="*/ 592120 h 597100"/>
                  <a:gd name="connsiteX9" fmla="*/ 298580 w 1315958"/>
                  <a:gd name="connsiteY9" fmla="*/ 377992 h 597100"/>
                  <a:gd name="connsiteX10" fmla="*/ 0 w 1315958"/>
                  <a:gd name="connsiteY10" fmla="*/ 597100 h 597100"/>
                  <a:gd name="connsiteX11" fmla="*/ 329704 w 1315958"/>
                  <a:gd name="connsiteY11" fmla="*/ 257513 h 597100"/>
                  <a:gd name="connsiteX0" fmla="*/ 0 w 1315958"/>
                  <a:gd name="connsiteY0" fmla="*/ 597100 h 597100"/>
                  <a:gd name="connsiteX1" fmla="*/ 453482 w 1315958"/>
                  <a:gd name="connsiteY1" fmla="*/ 427106 h 597100"/>
                  <a:gd name="connsiteX2" fmla="*/ 764835 w 1315958"/>
                  <a:gd name="connsiteY2" fmla="*/ 86218 h 597100"/>
                  <a:gd name="connsiteX3" fmla="*/ 958518 w 1315958"/>
                  <a:gd name="connsiteY3" fmla="*/ 300144 h 597100"/>
                  <a:gd name="connsiteX4" fmla="*/ 1240603 w 1315958"/>
                  <a:gd name="connsiteY4" fmla="*/ 0 h 597100"/>
                  <a:gd name="connsiteX5" fmla="*/ 1315958 w 1315958"/>
                  <a:gd name="connsiteY5" fmla="*/ 95639 h 597100"/>
                  <a:gd name="connsiteX6" fmla="*/ 945560 w 1315958"/>
                  <a:gd name="connsiteY6" fmla="*/ 466581 h 597100"/>
                  <a:gd name="connsiteX7" fmla="*/ 764635 w 1315958"/>
                  <a:gd name="connsiteY7" fmla="*/ 237460 h 597100"/>
                  <a:gd name="connsiteX8" fmla="*/ 435730 w 1315958"/>
                  <a:gd name="connsiteY8" fmla="*/ 592120 h 597100"/>
                  <a:gd name="connsiteX9" fmla="*/ 298580 w 1315958"/>
                  <a:gd name="connsiteY9" fmla="*/ 377992 h 597100"/>
                  <a:gd name="connsiteX10" fmla="*/ 0 w 1315958"/>
                  <a:gd name="connsiteY10" fmla="*/ 597100 h 597100"/>
                  <a:gd name="connsiteX0" fmla="*/ 0 w 1315958"/>
                  <a:gd name="connsiteY0" fmla="*/ 597100 h 597100"/>
                  <a:gd name="connsiteX1" fmla="*/ 453482 w 1315958"/>
                  <a:gd name="connsiteY1" fmla="*/ 427106 h 597100"/>
                  <a:gd name="connsiteX2" fmla="*/ 764835 w 1315958"/>
                  <a:gd name="connsiteY2" fmla="*/ 86218 h 597100"/>
                  <a:gd name="connsiteX3" fmla="*/ 958518 w 1315958"/>
                  <a:gd name="connsiteY3" fmla="*/ 300144 h 597100"/>
                  <a:gd name="connsiteX4" fmla="*/ 1240603 w 1315958"/>
                  <a:gd name="connsiteY4" fmla="*/ 0 h 597100"/>
                  <a:gd name="connsiteX5" fmla="*/ 1315958 w 1315958"/>
                  <a:gd name="connsiteY5" fmla="*/ 95639 h 597100"/>
                  <a:gd name="connsiteX6" fmla="*/ 945560 w 1315958"/>
                  <a:gd name="connsiteY6" fmla="*/ 466581 h 597100"/>
                  <a:gd name="connsiteX7" fmla="*/ 764635 w 1315958"/>
                  <a:gd name="connsiteY7" fmla="*/ 237460 h 597100"/>
                  <a:gd name="connsiteX8" fmla="*/ 435730 w 1315958"/>
                  <a:gd name="connsiteY8" fmla="*/ 592120 h 597100"/>
                  <a:gd name="connsiteX9" fmla="*/ 0 w 1315958"/>
                  <a:gd name="connsiteY9" fmla="*/ 597100 h 597100"/>
                  <a:gd name="connsiteX0" fmla="*/ 0 w 1315958"/>
                  <a:gd name="connsiteY0" fmla="*/ 597100 h 597100"/>
                  <a:gd name="connsiteX1" fmla="*/ 453482 w 1315958"/>
                  <a:gd name="connsiteY1" fmla="*/ 427106 h 597100"/>
                  <a:gd name="connsiteX2" fmla="*/ 764835 w 1315958"/>
                  <a:gd name="connsiteY2" fmla="*/ 86218 h 597100"/>
                  <a:gd name="connsiteX3" fmla="*/ 958518 w 1315958"/>
                  <a:gd name="connsiteY3" fmla="*/ 300144 h 597100"/>
                  <a:gd name="connsiteX4" fmla="*/ 1240603 w 1315958"/>
                  <a:gd name="connsiteY4" fmla="*/ 0 h 597100"/>
                  <a:gd name="connsiteX5" fmla="*/ 1315958 w 1315958"/>
                  <a:gd name="connsiteY5" fmla="*/ 95639 h 597100"/>
                  <a:gd name="connsiteX6" fmla="*/ 945560 w 1315958"/>
                  <a:gd name="connsiteY6" fmla="*/ 466581 h 597100"/>
                  <a:gd name="connsiteX7" fmla="*/ 764635 w 1315958"/>
                  <a:gd name="connsiteY7" fmla="*/ 237460 h 597100"/>
                  <a:gd name="connsiteX8" fmla="*/ 0 w 1315958"/>
                  <a:gd name="connsiteY8" fmla="*/ 597100 h 597100"/>
                  <a:gd name="connsiteX0" fmla="*/ 311153 w 862476"/>
                  <a:gd name="connsiteY0" fmla="*/ 237460 h 466581"/>
                  <a:gd name="connsiteX1" fmla="*/ 0 w 862476"/>
                  <a:gd name="connsiteY1" fmla="*/ 427106 h 466581"/>
                  <a:gd name="connsiteX2" fmla="*/ 311353 w 862476"/>
                  <a:gd name="connsiteY2" fmla="*/ 86218 h 466581"/>
                  <a:gd name="connsiteX3" fmla="*/ 505036 w 862476"/>
                  <a:gd name="connsiteY3" fmla="*/ 300144 h 466581"/>
                  <a:gd name="connsiteX4" fmla="*/ 787121 w 862476"/>
                  <a:gd name="connsiteY4" fmla="*/ 0 h 466581"/>
                  <a:gd name="connsiteX5" fmla="*/ 862476 w 862476"/>
                  <a:gd name="connsiteY5" fmla="*/ 95639 h 466581"/>
                  <a:gd name="connsiteX6" fmla="*/ 492078 w 862476"/>
                  <a:gd name="connsiteY6" fmla="*/ 466581 h 466581"/>
                  <a:gd name="connsiteX7" fmla="*/ 311153 w 862476"/>
                  <a:gd name="connsiteY7" fmla="*/ 237460 h 466581"/>
                  <a:gd name="connsiteX0" fmla="*/ 772395 w 1323718"/>
                  <a:gd name="connsiteY0" fmla="*/ 237460 h 608493"/>
                  <a:gd name="connsiteX1" fmla="*/ 0 w 1323718"/>
                  <a:gd name="connsiteY1" fmla="*/ 608493 h 608493"/>
                  <a:gd name="connsiteX2" fmla="*/ 772595 w 1323718"/>
                  <a:gd name="connsiteY2" fmla="*/ 86218 h 608493"/>
                  <a:gd name="connsiteX3" fmla="*/ 966278 w 1323718"/>
                  <a:gd name="connsiteY3" fmla="*/ 300144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953320 w 1323718"/>
                  <a:gd name="connsiteY6" fmla="*/ 466581 h 608493"/>
                  <a:gd name="connsiteX7" fmla="*/ 772395 w 1323718"/>
                  <a:gd name="connsiteY7" fmla="*/ 237460 h 608493"/>
                  <a:gd name="connsiteX0" fmla="*/ 772395 w 1323718"/>
                  <a:gd name="connsiteY0" fmla="*/ 237460 h 608493"/>
                  <a:gd name="connsiteX1" fmla="*/ 0 w 1323718"/>
                  <a:gd name="connsiteY1" fmla="*/ 608493 h 608493"/>
                  <a:gd name="connsiteX2" fmla="*/ 554930 w 1323718"/>
                  <a:gd name="connsiteY2" fmla="*/ 122495 h 608493"/>
                  <a:gd name="connsiteX3" fmla="*/ 966278 w 1323718"/>
                  <a:gd name="connsiteY3" fmla="*/ 300144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953320 w 1323718"/>
                  <a:gd name="connsiteY6" fmla="*/ 466581 h 608493"/>
                  <a:gd name="connsiteX7" fmla="*/ 772395 w 1323718"/>
                  <a:gd name="connsiteY7" fmla="*/ 237460 h 608493"/>
                  <a:gd name="connsiteX0" fmla="*/ 575460 w 1323718"/>
                  <a:gd name="connsiteY0" fmla="*/ 232278 h 608493"/>
                  <a:gd name="connsiteX1" fmla="*/ 0 w 1323718"/>
                  <a:gd name="connsiteY1" fmla="*/ 608493 h 608493"/>
                  <a:gd name="connsiteX2" fmla="*/ 554930 w 1323718"/>
                  <a:gd name="connsiteY2" fmla="*/ 122495 h 608493"/>
                  <a:gd name="connsiteX3" fmla="*/ 966278 w 1323718"/>
                  <a:gd name="connsiteY3" fmla="*/ 300144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953320 w 1323718"/>
                  <a:gd name="connsiteY6" fmla="*/ 466581 h 608493"/>
                  <a:gd name="connsiteX7" fmla="*/ 575460 w 1323718"/>
                  <a:gd name="connsiteY7" fmla="*/ 232278 h 608493"/>
                  <a:gd name="connsiteX0" fmla="*/ 575460 w 1323718"/>
                  <a:gd name="connsiteY0" fmla="*/ 232278 h 608493"/>
                  <a:gd name="connsiteX1" fmla="*/ 0 w 1323718"/>
                  <a:gd name="connsiteY1" fmla="*/ 608493 h 608493"/>
                  <a:gd name="connsiteX2" fmla="*/ 554930 w 1323718"/>
                  <a:gd name="connsiteY2" fmla="*/ 122495 h 608493"/>
                  <a:gd name="connsiteX3" fmla="*/ 966278 w 1323718"/>
                  <a:gd name="connsiteY3" fmla="*/ 300144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891130 w 1323718"/>
                  <a:gd name="connsiteY6" fmla="*/ 497676 h 608493"/>
                  <a:gd name="connsiteX7" fmla="*/ 575460 w 1323718"/>
                  <a:gd name="connsiteY7" fmla="*/ 232278 h 608493"/>
                  <a:gd name="connsiteX0" fmla="*/ 575460 w 1323718"/>
                  <a:gd name="connsiteY0" fmla="*/ 232278 h 608493"/>
                  <a:gd name="connsiteX1" fmla="*/ 0 w 1323718"/>
                  <a:gd name="connsiteY1" fmla="*/ 608493 h 608493"/>
                  <a:gd name="connsiteX2" fmla="*/ 554930 w 1323718"/>
                  <a:gd name="connsiteY2" fmla="*/ 122495 h 608493"/>
                  <a:gd name="connsiteX3" fmla="*/ 904088 w 1323718"/>
                  <a:gd name="connsiteY3" fmla="*/ 346787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891130 w 1323718"/>
                  <a:gd name="connsiteY6" fmla="*/ 497676 h 608493"/>
                  <a:gd name="connsiteX7" fmla="*/ 575460 w 1323718"/>
                  <a:gd name="connsiteY7" fmla="*/ 232278 h 608493"/>
                  <a:gd name="connsiteX0" fmla="*/ 575460 w 1323718"/>
                  <a:gd name="connsiteY0" fmla="*/ 232278 h 608493"/>
                  <a:gd name="connsiteX1" fmla="*/ 0 w 1323718"/>
                  <a:gd name="connsiteY1" fmla="*/ 608493 h 608493"/>
                  <a:gd name="connsiteX2" fmla="*/ 606755 w 1323718"/>
                  <a:gd name="connsiteY2" fmla="*/ 91400 h 608493"/>
                  <a:gd name="connsiteX3" fmla="*/ 904088 w 1323718"/>
                  <a:gd name="connsiteY3" fmla="*/ 346787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891130 w 1323718"/>
                  <a:gd name="connsiteY6" fmla="*/ 497676 h 608493"/>
                  <a:gd name="connsiteX7" fmla="*/ 575460 w 1323718"/>
                  <a:gd name="connsiteY7" fmla="*/ 232278 h 608493"/>
                  <a:gd name="connsiteX0" fmla="*/ 575460 w 1323718"/>
                  <a:gd name="connsiteY0" fmla="*/ 232278 h 608493"/>
                  <a:gd name="connsiteX1" fmla="*/ 0 w 1323718"/>
                  <a:gd name="connsiteY1" fmla="*/ 608493 h 608493"/>
                  <a:gd name="connsiteX2" fmla="*/ 606755 w 1323718"/>
                  <a:gd name="connsiteY2" fmla="*/ 91400 h 608493"/>
                  <a:gd name="connsiteX3" fmla="*/ 904088 w 1323718"/>
                  <a:gd name="connsiteY3" fmla="*/ 346787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870400 w 1323718"/>
                  <a:gd name="connsiteY6" fmla="*/ 528771 h 608493"/>
                  <a:gd name="connsiteX7" fmla="*/ 575460 w 1323718"/>
                  <a:gd name="connsiteY7" fmla="*/ 232278 h 608493"/>
                  <a:gd name="connsiteX0" fmla="*/ 575460 w 1323718"/>
                  <a:gd name="connsiteY0" fmla="*/ 232278 h 608493"/>
                  <a:gd name="connsiteX1" fmla="*/ 0 w 1323718"/>
                  <a:gd name="connsiteY1" fmla="*/ 608493 h 608493"/>
                  <a:gd name="connsiteX2" fmla="*/ 606755 w 1323718"/>
                  <a:gd name="connsiteY2" fmla="*/ 91400 h 608493"/>
                  <a:gd name="connsiteX3" fmla="*/ 872993 w 1323718"/>
                  <a:gd name="connsiteY3" fmla="*/ 346787 h 608493"/>
                  <a:gd name="connsiteX4" fmla="*/ 1248363 w 1323718"/>
                  <a:gd name="connsiteY4" fmla="*/ 0 h 608493"/>
                  <a:gd name="connsiteX5" fmla="*/ 1323718 w 1323718"/>
                  <a:gd name="connsiteY5" fmla="*/ 95639 h 608493"/>
                  <a:gd name="connsiteX6" fmla="*/ 870400 w 1323718"/>
                  <a:gd name="connsiteY6" fmla="*/ 528771 h 608493"/>
                  <a:gd name="connsiteX7" fmla="*/ 575460 w 1323718"/>
                  <a:gd name="connsiteY7" fmla="*/ 232278 h 608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3718" h="608493">
                    <a:moveTo>
                      <a:pt x="575460" y="232278"/>
                    </a:moveTo>
                    <a:lnTo>
                      <a:pt x="0" y="608493"/>
                    </a:lnTo>
                    <a:lnTo>
                      <a:pt x="606755" y="91400"/>
                    </a:lnTo>
                    <a:lnTo>
                      <a:pt x="872993" y="346787"/>
                    </a:lnTo>
                    <a:lnTo>
                      <a:pt x="1248363" y="0"/>
                    </a:lnTo>
                    <a:lnTo>
                      <a:pt x="1323718" y="95639"/>
                    </a:lnTo>
                    <a:lnTo>
                      <a:pt x="870400" y="528771"/>
                    </a:lnTo>
                    <a:lnTo>
                      <a:pt x="575460" y="2322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Isosceles Triangle 200"/>
              <p:cNvSpPr/>
              <p:nvPr/>
            </p:nvSpPr>
            <p:spPr>
              <a:xfrm rot="2830048">
                <a:off x="3647523" y="2428297"/>
                <a:ext cx="334780" cy="26782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77" name="Group 276"/>
          <p:cNvGrpSpPr/>
          <p:nvPr/>
        </p:nvGrpSpPr>
        <p:grpSpPr>
          <a:xfrm>
            <a:off x="2927616" y="3753807"/>
            <a:ext cx="504988" cy="452866"/>
            <a:chOff x="2941638" y="1590675"/>
            <a:chExt cx="938212" cy="841375"/>
          </a:xfrm>
          <a:solidFill>
            <a:schemeClr val="accent1"/>
          </a:solidFill>
        </p:grpSpPr>
        <p:sp>
          <p:nvSpPr>
            <p:cNvPr id="278" name="Freeform 277"/>
            <p:cNvSpPr>
              <a:spLocks/>
            </p:cNvSpPr>
            <p:nvPr/>
          </p:nvSpPr>
          <p:spPr bwMode="auto">
            <a:xfrm>
              <a:off x="3254375" y="1908175"/>
              <a:ext cx="239712" cy="320675"/>
            </a:xfrm>
            <a:custGeom>
              <a:avLst/>
              <a:gdLst>
                <a:gd name="T0" fmla="*/ 0 w 151"/>
                <a:gd name="T1" fmla="*/ 0 h 202"/>
                <a:gd name="T2" fmla="*/ 23 w 151"/>
                <a:gd name="T3" fmla="*/ 3 h 202"/>
                <a:gd name="T4" fmla="*/ 46 w 151"/>
                <a:gd name="T5" fmla="*/ 7 h 202"/>
                <a:gd name="T6" fmla="*/ 46 w 151"/>
                <a:gd name="T7" fmla="*/ 14 h 202"/>
                <a:gd name="T8" fmla="*/ 49 w 151"/>
                <a:gd name="T9" fmla="*/ 46 h 202"/>
                <a:gd name="T10" fmla="*/ 59 w 151"/>
                <a:gd name="T11" fmla="*/ 76 h 202"/>
                <a:gd name="T12" fmla="*/ 75 w 151"/>
                <a:gd name="T13" fmla="*/ 103 h 202"/>
                <a:gd name="T14" fmla="*/ 96 w 151"/>
                <a:gd name="T15" fmla="*/ 126 h 202"/>
                <a:gd name="T16" fmla="*/ 121 w 151"/>
                <a:gd name="T17" fmla="*/ 145 h 202"/>
                <a:gd name="T18" fmla="*/ 151 w 151"/>
                <a:gd name="T19" fmla="*/ 156 h 202"/>
                <a:gd name="T20" fmla="*/ 148 w 151"/>
                <a:gd name="T21" fmla="*/ 181 h 202"/>
                <a:gd name="T22" fmla="*/ 141 w 151"/>
                <a:gd name="T23" fmla="*/ 202 h 202"/>
                <a:gd name="T24" fmla="*/ 108 w 151"/>
                <a:gd name="T25" fmla="*/ 189 h 202"/>
                <a:gd name="T26" fmla="*/ 78 w 151"/>
                <a:gd name="T27" fmla="*/ 171 h 202"/>
                <a:gd name="T28" fmla="*/ 52 w 151"/>
                <a:gd name="T29" fmla="*/ 146 h 202"/>
                <a:gd name="T30" fmla="*/ 30 w 151"/>
                <a:gd name="T31" fmla="*/ 118 h 202"/>
                <a:gd name="T32" fmla="*/ 13 w 151"/>
                <a:gd name="T33" fmla="*/ 86 h 202"/>
                <a:gd name="T34" fmla="*/ 3 w 151"/>
                <a:gd name="T35" fmla="*/ 51 h 202"/>
                <a:gd name="T36" fmla="*/ 0 w 151"/>
                <a:gd name="T37" fmla="*/ 14 h 202"/>
                <a:gd name="T38" fmla="*/ 0 w 151"/>
                <a:gd name="T3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202">
                  <a:moveTo>
                    <a:pt x="0" y="0"/>
                  </a:moveTo>
                  <a:lnTo>
                    <a:pt x="23" y="3"/>
                  </a:lnTo>
                  <a:lnTo>
                    <a:pt x="46" y="7"/>
                  </a:lnTo>
                  <a:lnTo>
                    <a:pt x="46" y="14"/>
                  </a:lnTo>
                  <a:lnTo>
                    <a:pt x="49" y="46"/>
                  </a:lnTo>
                  <a:lnTo>
                    <a:pt x="59" y="76"/>
                  </a:lnTo>
                  <a:lnTo>
                    <a:pt x="75" y="103"/>
                  </a:lnTo>
                  <a:lnTo>
                    <a:pt x="96" y="126"/>
                  </a:lnTo>
                  <a:lnTo>
                    <a:pt x="121" y="145"/>
                  </a:lnTo>
                  <a:lnTo>
                    <a:pt x="151" y="156"/>
                  </a:lnTo>
                  <a:lnTo>
                    <a:pt x="148" y="181"/>
                  </a:lnTo>
                  <a:lnTo>
                    <a:pt x="141" y="202"/>
                  </a:lnTo>
                  <a:lnTo>
                    <a:pt x="108" y="189"/>
                  </a:lnTo>
                  <a:lnTo>
                    <a:pt x="78" y="171"/>
                  </a:lnTo>
                  <a:lnTo>
                    <a:pt x="52" y="146"/>
                  </a:lnTo>
                  <a:lnTo>
                    <a:pt x="30" y="118"/>
                  </a:lnTo>
                  <a:lnTo>
                    <a:pt x="13" y="86"/>
                  </a:lnTo>
                  <a:lnTo>
                    <a:pt x="3" y="51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78"/>
            <p:cNvSpPr>
              <a:spLocks noEditPoints="1"/>
            </p:cNvSpPr>
            <p:nvPr/>
          </p:nvSpPr>
          <p:spPr bwMode="auto">
            <a:xfrm>
              <a:off x="2941638" y="1590675"/>
              <a:ext cx="938212" cy="841375"/>
            </a:xfrm>
            <a:custGeom>
              <a:avLst/>
              <a:gdLst>
                <a:gd name="T0" fmla="*/ 213 w 591"/>
                <a:gd name="T1" fmla="*/ 404 h 530"/>
                <a:gd name="T2" fmla="*/ 229 w 591"/>
                <a:gd name="T3" fmla="*/ 391 h 530"/>
                <a:gd name="T4" fmla="*/ 232 w 591"/>
                <a:gd name="T5" fmla="*/ 374 h 530"/>
                <a:gd name="T6" fmla="*/ 222 w 591"/>
                <a:gd name="T7" fmla="*/ 361 h 530"/>
                <a:gd name="T8" fmla="*/ 184 w 591"/>
                <a:gd name="T9" fmla="*/ 269 h 530"/>
                <a:gd name="T10" fmla="*/ 171 w 591"/>
                <a:gd name="T11" fmla="*/ 277 h 530"/>
                <a:gd name="T12" fmla="*/ 165 w 591"/>
                <a:gd name="T13" fmla="*/ 290 h 530"/>
                <a:gd name="T14" fmla="*/ 170 w 591"/>
                <a:gd name="T15" fmla="*/ 303 h 530"/>
                <a:gd name="T16" fmla="*/ 184 w 591"/>
                <a:gd name="T17" fmla="*/ 313 h 530"/>
                <a:gd name="T18" fmla="*/ 163 w 591"/>
                <a:gd name="T19" fmla="*/ 187 h 530"/>
                <a:gd name="T20" fmla="*/ 79 w 591"/>
                <a:gd name="T21" fmla="*/ 240 h 530"/>
                <a:gd name="T22" fmla="*/ 46 w 591"/>
                <a:gd name="T23" fmla="*/ 335 h 530"/>
                <a:gd name="T24" fmla="*/ 79 w 591"/>
                <a:gd name="T25" fmla="*/ 428 h 530"/>
                <a:gd name="T26" fmla="*/ 163 w 591"/>
                <a:gd name="T27" fmla="*/ 481 h 530"/>
                <a:gd name="T28" fmla="*/ 259 w 591"/>
                <a:gd name="T29" fmla="*/ 473 h 530"/>
                <a:gd name="T30" fmla="*/ 325 w 591"/>
                <a:gd name="T31" fmla="*/ 412 h 530"/>
                <a:gd name="T32" fmla="*/ 306 w 591"/>
                <a:gd name="T33" fmla="*/ 372 h 530"/>
                <a:gd name="T34" fmla="*/ 229 w 591"/>
                <a:gd name="T35" fmla="*/ 303 h 530"/>
                <a:gd name="T36" fmla="*/ 207 w 591"/>
                <a:gd name="T37" fmla="*/ 269 h 530"/>
                <a:gd name="T38" fmla="*/ 245 w 591"/>
                <a:gd name="T39" fmla="*/ 332 h 530"/>
                <a:gd name="T40" fmla="*/ 268 w 591"/>
                <a:gd name="T41" fmla="*/ 375 h 530"/>
                <a:gd name="T42" fmla="*/ 252 w 591"/>
                <a:gd name="T43" fmla="*/ 414 h 530"/>
                <a:gd name="T44" fmla="*/ 207 w 591"/>
                <a:gd name="T45" fmla="*/ 434 h 530"/>
                <a:gd name="T46" fmla="*/ 184 w 591"/>
                <a:gd name="T47" fmla="*/ 434 h 530"/>
                <a:gd name="T48" fmla="*/ 134 w 591"/>
                <a:gd name="T49" fmla="*/ 407 h 530"/>
                <a:gd name="T50" fmla="*/ 161 w 591"/>
                <a:gd name="T51" fmla="*/ 375 h 530"/>
                <a:gd name="T52" fmla="*/ 170 w 591"/>
                <a:gd name="T53" fmla="*/ 392 h 530"/>
                <a:gd name="T54" fmla="*/ 184 w 591"/>
                <a:gd name="T55" fmla="*/ 349 h 530"/>
                <a:gd name="T56" fmla="*/ 143 w 591"/>
                <a:gd name="T57" fmla="*/ 328 h 530"/>
                <a:gd name="T58" fmla="*/ 132 w 591"/>
                <a:gd name="T59" fmla="*/ 273 h 530"/>
                <a:gd name="T60" fmla="*/ 184 w 591"/>
                <a:gd name="T61" fmla="*/ 240 h 530"/>
                <a:gd name="T62" fmla="*/ 197 w 591"/>
                <a:gd name="T63" fmla="*/ 197 h 530"/>
                <a:gd name="T64" fmla="*/ 394 w 591"/>
                <a:gd name="T65" fmla="*/ 46 h 530"/>
                <a:gd name="T66" fmla="*/ 306 w 591"/>
                <a:gd name="T67" fmla="*/ 75 h 530"/>
                <a:gd name="T68" fmla="*/ 252 w 591"/>
                <a:gd name="T69" fmla="*/ 145 h 530"/>
                <a:gd name="T70" fmla="*/ 243 w 591"/>
                <a:gd name="T71" fmla="*/ 191 h 530"/>
                <a:gd name="T72" fmla="*/ 256 w 591"/>
                <a:gd name="T73" fmla="*/ 260 h 530"/>
                <a:gd name="T74" fmla="*/ 319 w 591"/>
                <a:gd name="T75" fmla="*/ 328 h 530"/>
                <a:gd name="T76" fmla="*/ 361 w 591"/>
                <a:gd name="T77" fmla="*/ 343 h 530"/>
                <a:gd name="T78" fmla="*/ 380 w 591"/>
                <a:gd name="T79" fmla="*/ 346 h 530"/>
                <a:gd name="T80" fmla="*/ 394 w 591"/>
                <a:gd name="T81" fmla="*/ 348 h 530"/>
                <a:gd name="T82" fmla="*/ 460 w 591"/>
                <a:gd name="T83" fmla="*/ 332 h 530"/>
                <a:gd name="T84" fmla="*/ 529 w 591"/>
                <a:gd name="T85" fmla="*/ 263 h 530"/>
                <a:gd name="T86" fmla="*/ 541 w 591"/>
                <a:gd name="T87" fmla="*/ 162 h 530"/>
                <a:gd name="T88" fmla="*/ 489 w 591"/>
                <a:gd name="T89" fmla="*/ 79 h 530"/>
                <a:gd name="T90" fmla="*/ 394 w 591"/>
                <a:gd name="T91" fmla="*/ 46 h 530"/>
                <a:gd name="T92" fmla="*/ 470 w 591"/>
                <a:gd name="T93" fmla="*/ 16 h 530"/>
                <a:gd name="T94" fmla="*/ 556 w 591"/>
                <a:gd name="T95" fmla="*/ 86 h 530"/>
                <a:gd name="T96" fmla="*/ 591 w 591"/>
                <a:gd name="T97" fmla="*/ 197 h 530"/>
                <a:gd name="T98" fmla="*/ 556 w 591"/>
                <a:gd name="T99" fmla="*/ 306 h 530"/>
                <a:gd name="T100" fmla="*/ 470 w 591"/>
                <a:gd name="T101" fmla="*/ 378 h 530"/>
                <a:gd name="T102" fmla="*/ 385 w 591"/>
                <a:gd name="T103" fmla="*/ 394 h 530"/>
                <a:gd name="T104" fmla="*/ 328 w 591"/>
                <a:gd name="T105" fmla="*/ 481 h 530"/>
                <a:gd name="T106" fmla="*/ 234 w 591"/>
                <a:gd name="T107" fmla="*/ 527 h 530"/>
                <a:gd name="T108" fmla="*/ 121 w 591"/>
                <a:gd name="T109" fmla="*/ 516 h 530"/>
                <a:gd name="T110" fmla="*/ 35 w 591"/>
                <a:gd name="T111" fmla="*/ 444 h 530"/>
                <a:gd name="T112" fmla="*/ 0 w 591"/>
                <a:gd name="T113" fmla="*/ 335 h 530"/>
                <a:gd name="T114" fmla="*/ 35 w 591"/>
                <a:gd name="T115" fmla="*/ 224 h 530"/>
                <a:gd name="T116" fmla="*/ 121 w 591"/>
                <a:gd name="T117" fmla="*/ 154 h 530"/>
                <a:gd name="T118" fmla="*/ 206 w 591"/>
                <a:gd name="T119" fmla="*/ 138 h 530"/>
                <a:gd name="T120" fmla="*/ 263 w 591"/>
                <a:gd name="T121" fmla="*/ 50 h 530"/>
                <a:gd name="T122" fmla="*/ 357 w 591"/>
                <a:gd name="T123" fmla="*/ 4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1" h="530">
                  <a:moveTo>
                    <a:pt x="207" y="355"/>
                  </a:moveTo>
                  <a:lnTo>
                    <a:pt x="207" y="405"/>
                  </a:lnTo>
                  <a:lnTo>
                    <a:pt x="213" y="404"/>
                  </a:lnTo>
                  <a:lnTo>
                    <a:pt x="220" y="401"/>
                  </a:lnTo>
                  <a:lnTo>
                    <a:pt x="224" y="397"/>
                  </a:lnTo>
                  <a:lnTo>
                    <a:pt x="229" y="391"/>
                  </a:lnTo>
                  <a:lnTo>
                    <a:pt x="230" y="385"/>
                  </a:lnTo>
                  <a:lnTo>
                    <a:pt x="232" y="379"/>
                  </a:lnTo>
                  <a:lnTo>
                    <a:pt x="232" y="374"/>
                  </a:lnTo>
                  <a:lnTo>
                    <a:pt x="229" y="369"/>
                  </a:lnTo>
                  <a:lnTo>
                    <a:pt x="226" y="365"/>
                  </a:lnTo>
                  <a:lnTo>
                    <a:pt x="222" y="361"/>
                  </a:lnTo>
                  <a:lnTo>
                    <a:pt x="214" y="358"/>
                  </a:lnTo>
                  <a:lnTo>
                    <a:pt x="207" y="355"/>
                  </a:lnTo>
                  <a:close/>
                  <a:moveTo>
                    <a:pt x="184" y="269"/>
                  </a:moveTo>
                  <a:lnTo>
                    <a:pt x="180" y="270"/>
                  </a:lnTo>
                  <a:lnTo>
                    <a:pt x="174" y="273"/>
                  </a:lnTo>
                  <a:lnTo>
                    <a:pt x="171" y="277"/>
                  </a:lnTo>
                  <a:lnTo>
                    <a:pt x="168" y="282"/>
                  </a:lnTo>
                  <a:lnTo>
                    <a:pt x="167" y="286"/>
                  </a:lnTo>
                  <a:lnTo>
                    <a:pt x="165" y="290"/>
                  </a:lnTo>
                  <a:lnTo>
                    <a:pt x="165" y="295"/>
                  </a:lnTo>
                  <a:lnTo>
                    <a:pt x="168" y="299"/>
                  </a:lnTo>
                  <a:lnTo>
                    <a:pt x="170" y="303"/>
                  </a:lnTo>
                  <a:lnTo>
                    <a:pt x="174" y="307"/>
                  </a:lnTo>
                  <a:lnTo>
                    <a:pt x="178" y="310"/>
                  </a:lnTo>
                  <a:lnTo>
                    <a:pt x="184" y="313"/>
                  </a:lnTo>
                  <a:lnTo>
                    <a:pt x="184" y="269"/>
                  </a:lnTo>
                  <a:close/>
                  <a:moveTo>
                    <a:pt x="197" y="184"/>
                  </a:moveTo>
                  <a:lnTo>
                    <a:pt x="163" y="187"/>
                  </a:lnTo>
                  <a:lnTo>
                    <a:pt x="131" y="198"/>
                  </a:lnTo>
                  <a:lnTo>
                    <a:pt x="102" y="217"/>
                  </a:lnTo>
                  <a:lnTo>
                    <a:pt x="79" y="240"/>
                  </a:lnTo>
                  <a:lnTo>
                    <a:pt x="62" y="267"/>
                  </a:lnTo>
                  <a:lnTo>
                    <a:pt x="51" y="299"/>
                  </a:lnTo>
                  <a:lnTo>
                    <a:pt x="46" y="335"/>
                  </a:lnTo>
                  <a:lnTo>
                    <a:pt x="51" y="369"/>
                  </a:lnTo>
                  <a:lnTo>
                    <a:pt x="62" y="401"/>
                  </a:lnTo>
                  <a:lnTo>
                    <a:pt x="79" y="428"/>
                  </a:lnTo>
                  <a:lnTo>
                    <a:pt x="102" y="451"/>
                  </a:lnTo>
                  <a:lnTo>
                    <a:pt x="131" y="470"/>
                  </a:lnTo>
                  <a:lnTo>
                    <a:pt x="163" y="481"/>
                  </a:lnTo>
                  <a:lnTo>
                    <a:pt x="197" y="486"/>
                  </a:lnTo>
                  <a:lnTo>
                    <a:pt x="229" y="481"/>
                  </a:lnTo>
                  <a:lnTo>
                    <a:pt x="259" y="473"/>
                  </a:lnTo>
                  <a:lnTo>
                    <a:pt x="285" y="457"/>
                  </a:lnTo>
                  <a:lnTo>
                    <a:pt x="308" y="437"/>
                  </a:lnTo>
                  <a:lnTo>
                    <a:pt x="325" y="412"/>
                  </a:lnTo>
                  <a:lnTo>
                    <a:pt x="339" y="385"/>
                  </a:lnTo>
                  <a:lnTo>
                    <a:pt x="339" y="385"/>
                  </a:lnTo>
                  <a:lnTo>
                    <a:pt x="306" y="372"/>
                  </a:lnTo>
                  <a:lnTo>
                    <a:pt x="276" y="353"/>
                  </a:lnTo>
                  <a:lnTo>
                    <a:pt x="250" y="330"/>
                  </a:lnTo>
                  <a:lnTo>
                    <a:pt x="229" y="303"/>
                  </a:lnTo>
                  <a:lnTo>
                    <a:pt x="211" y="272"/>
                  </a:lnTo>
                  <a:lnTo>
                    <a:pt x="210" y="270"/>
                  </a:lnTo>
                  <a:lnTo>
                    <a:pt x="207" y="269"/>
                  </a:lnTo>
                  <a:lnTo>
                    <a:pt x="207" y="319"/>
                  </a:lnTo>
                  <a:lnTo>
                    <a:pt x="227" y="325"/>
                  </a:lnTo>
                  <a:lnTo>
                    <a:pt x="245" y="332"/>
                  </a:lnTo>
                  <a:lnTo>
                    <a:pt x="255" y="341"/>
                  </a:lnTo>
                  <a:lnTo>
                    <a:pt x="265" y="356"/>
                  </a:lnTo>
                  <a:lnTo>
                    <a:pt x="268" y="375"/>
                  </a:lnTo>
                  <a:lnTo>
                    <a:pt x="266" y="389"/>
                  </a:lnTo>
                  <a:lnTo>
                    <a:pt x="260" y="402"/>
                  </a:lnTo>
                  <a:lnTo>
                    <a:pt x="252" y="414"/>
                  </a:lnTo>
                  <a:lnTo>
                    <a:pt x="240" y="424"/>
                  </a:lnTo>
                  <a:lnTo>
                    <a:pt x="224" y="430"/>
                  </a:lnTo>
                  <a:lnTo>
                    <a:pt x="207" y="434"/>
                  </a:lnTo>
                  <a:lnTo>
                    <a:pt x="207" y="458"/>
                  </a:lnTo>
                  <a:lnTo>
                    <a:pt x="184" y="458"/>
                  </a:lnTo>
                  <a:lnTo>
                    <a:pt x="184" y="434"/>
                  </a:lnTo>
                  <a:lnTo>
                    <a:pt x="161" y="430"/>
                  </a:lnTo>
                  <a:lnTo>
                    <a:pt x="143" y="418"/>
                  </a:lnTo>
                  <a:lnTo>
                    <a:pt x="134" y="407"/>
                  </a:lnTo>
                  <a:lnTo>
                    <a:pt x="127" y="394"/>
                  </a:lnTo>
                  <a:lnTo>
                    <a:pt x="122" y="378"/>
                  </a:lnTo>
                  <a:lnTo>
                    <a:pt x="161" y="375"/>
                  </a:lnTo>
                  <a:lnTo>
                    <a:pt x="164" y="382"/>
                  </a:lnTo>
                  <a:lnTo>
                    <a:pt x="167" y="388"/>
                  </a:lnTo>
                  <a:lnTo>
                    <a:pt x="170" y="392"/>
                  </a:lnTo>
                  <a:lnTo>
                    <a:pt x="177" y="399"/>
                  </a:lnTo>
                  <a:lnTo>
                    <a:pt x="184" y="404"/>
                  </a:lnTo>
                  <a:lnTo>
                    <a:pt x="184" y="349"/>
                  </a:lnTo>
                  <a:lnTo>
                    <a:pt x="167" y="343"/>
                  </a:lnTo>
                  <a:lnTo>
                    <a:pt x="153" y="336"/>
                  </a:lnTo>
                  <a:lnTo>
                    <a:pt x="143" y="328"/>
                  </a:lnTo>
                  <a:lnTo>
                    <a:pt x="132" y="312"/>
                  </a:lnTo>
                  <a:lnTo>
                    <a:pt x="128" y="292"/>
                  </a:lnTo>
                  <a:lnTo>
                    <a:pt x="132" y="273"/>
                  </a:lnTo>
                  <a:lnTo>
                    <a:pt x="144" y="257"/>
                  </a:lnTo>
                  <a:lnTo>
                    <a:pt x="161" y="246"/>
                  </a:lnTo>
                  <a:lnTo>
                    <a:pt x="184" y="240"/>
                  </a:lnTo>
                  <a:lnTo>
                    <a:pt x="184" y="227"/>
                  </a:lnTo>
                  <a:lnTo>
                    <a:pt x="200" y="227"/>
                  </a:lnTo>
                  <a:lnTo>
                    <a:pt x="197" y="197"/>
                  </a:lnTo>
                  <a:lnTo>
                    <a:pt x="197" y="184"/>
                  </a:lnTo>
                  <a:lnTo>
                    <a:pt x="197" y="184"/>
                  </a:lnTo>
                  <a:close/>
                  <a:moveTo>
                    <a:pt x="394" y="46"/>
                  </a:moveTo>
                  <a:lnTo>
                    <a:pt x="362" y="49"/>
                  </a:lnTo>
                  <a:lnTo>
                    <a:pt x="332" y="59"/>
                  </a:lnTo>
                  <a:lnTo>
                    <a:pt x="306" y="75"/>
                  </a:lnTo>
                  <a:lnTo>
                    <a:pt x="283" y="93"/>
                  </a:lnTo>
                  <a:lnTo>
                    <a:pt x="266" y="118"/>
                  </a:lnTo>
                  <a:lnTo>
                    <a:pt x="252" y="145"/>
                  </a:lnTo>
                  <a:lnTo>
                    <a:pt x="252" y="145"/>
                  </a:lnTo>
                  <a:lnTo>
                    <a:pt x="246" y="168"/>
                  </a:lnTo>
                  <a:lnTo>
                    <a:pt x="243" y="191"/>
                  </a:lnTo>
                  <a:lnTo>
                    <a:pt x="243" y="197"/>
                  </a:lnTo>
                  <a:lnTo>
                    <a:pt x="246" y="230"/>
                  </a:lnTo>
                  <a:lnTo>
                    <a:pt x="256" y="260"/>
                  </a:lnTo>
                  <a:lnTo>
                    <a:pt x="273" y="286"/>
                  </a:lnTo>
                  <a:lnTo>
                    <a:pt x="293" y="309"/>
                  </a:lnTo>
                  <a:lnTo>
                    <a:pt x="319" y="328"/>
                  </a:lnTo>
                  <a:lnTo>
                    <a:pt x="348" y="341"/>
                  </a:lnTo>
                  <a:lnTo>
                    <a:pt x="354" y="342"/>
                  </a:lnTo>
                  <a:lnTo>
                    <a:pt x="361" y="343"/>
                  </a:lnTo>
                  <a:lnTo>
                    <a:pt x="367" y="345"/>
                  </a:lnTo>
                  <a:lnTo>
                    <a:pt x="374" y="346"/>
                  </a:lnTo>
                  <a:lnTo>
                    <a:pt x="380" y="346"/>
                  </a:lnTo>
                  <a:lnTo>
                    <a:pt x="393" y="348"/>
                  </a:lnTo>
                  <a:lnTo>
                    <a:pt x="394" y="348"/>
                  </a:lnTo>
                  <a:lnTo>
                    <a:pt x="394" y="348"/>
                  </a:lnTo>
                  <a:lnTo>
                    <a:pt x="394" y="348"/>
                  </a:lnTo>
                  <a:lnTo>
                    <a:pt x="429" y="343"/>
                  </a:lnTo>
                  <a:lnTo>
                    <a:pt x="460" y="332"/>
                  </a:lnTo>
                  <a:lnTo>
                    <a:pt x="489" y="315"/>
                  </a:lnTo>
                  <a:lnTo>
                    <a:pt x="512" y="292"/>
                  </a:lnTo>
                  <a:lnTo>
                    <a:pt x="529" y="263"/>
                  </a:lnTo>
                  <a:lnTo>
                    <a:pt x="541" y="231"/>
                  </a:lnTo>
                  <a:lnTo>
                    <a:pt x="545" y="197"/>
                  </a:lnTo>
                  <a:lnTo>
                    <a:pt x="541" y="162"/>
                  </a:lnTo>
                  <a:lnTo>
                    <a:pt x="529" y="131"/>
                  </a:lnTo>
                  <a:lnTo>
                    <a:pt x="512" y="102"/>
                  </a:lnTo>
                  <a:lnTo>
                    <a:pt x="489" y="79"/>
                  </a:lnTo>
                  <a:lnTo>
                    <a:pt x="460" y="62"/>
                  </a:lnTo>
                  <a:lnTo>
                    <a:pt x="429" y="50"/>
                  </a:lnTo>
                  <a:lnTo>
                    <a:pt x="394" y="46"/>
                  </a:lnTo>
                  <a:close/>
                  <a:moveTo>
                    <a:pt x="394" y="0"/>
                  </a:moveTo>
                  <a:lnTo>
                    <a:pt x="433" y="4"/>
                  </a:lnTo>
                  <a:lnTo>
                    <a:pt x="470" y="16"/>
                  </a:lnTo>
                  <a:lnTo>
                    <a:pt x="503" y="34"/>
                  </a:lnTo>
                  <a:lnTo>
                    <a:pt x="533" y="57"/>
                  </a:lnTo>
                  <a:lnTo>
                    <a:pt x="556" y="86"/>
                  </a:lnTo>
                  <a:lnTo>
                    <a:pt x="575" y="121"/>
                  </a:lnTo>
                  <a:lnTo>
                    <a:pt x="587" y="157"/>
                  </a:lnTo>
                  <a:lnTo>
                    <a:pt x="591" y="197"/>
                  </a:lnTo>
                  <a:lnTo>
                    <a:pt x="587" y="237"/>
                  </a:lnTo>
                  <a:lnTo>
                    <a:pt x="575" y="273"/>
                  </a:lnTo>
                  <a:lnTo>
                    <a:pt x="556" y="306"/>
                  </a:lnTo>
                  <a:lnTo>
                    <a:pt x="533" y="336"/>
                  </a:lnTo>
                  <a:lnTo>
                    <a:pt x="503" y="359"/>
                  </a:lnTo>
                  <a:lnTo>
                    <a:pt x="470" y="378"/>
                  </a:lnTo>
                  <a:lnTo>
                    <a:pt x="433" y="389"/>
                  </a:lnTo>
                  <a:lnTo>
                    <a:pt x="394" y="394"/>
                  </a:lnTo>
                  <a:lnTo>
                    <a:pt x="385" y="394"/>
                  </a:lnTo>
                  <a:lnTo>
                    <a:pt x="371" y="425"/>
                  </a:lnTo>
                  <a:lnTo>
                    <a:pt x="352" y="455"/>
                  </a:lnTo>
                  <a:lnTo>
                    <a:pt x="328" y="481"/>
                  </a:lnTo>
                  <a:lnTo>
                    <a:pt x="301" y="501"/>
                  </a:lnTo>
                  <a:lnTo>
                    <a:pt x="269" y="517"/>
                  </a:lnTo>
                  <a:lnTo>
                    <a:pt x="234" y="527"/>
                  </a:lnTo>
                  <a:lnTo>
                    <a:pt x="197" y="530"/>
                  </a:lnTo>
                  <a:lnTo>
                    <a:pt x="158" y="527"/>
                  </a:lnTo>
                  <a:lnTo>
                    <a:pt x="121" y="516"/>
                  </a:lnTo>
                  <a:lnTo>
                    <a:pt x="88" y="497"/>
                  </a:lnTo>
                  <a:lnTo>
                    <a:pt x="58" y="473"/>
                  </a:lnTo>
                  <a:lnTo>
                    <a:pt x="35" y="444"/>
                  </a:lnTo>
                  <a:lnTo>
                    <a:pt x="16" y="411"/>
                  </a:lnTo>
                  <a:lnTo>
                    <a:pt x="5" y="374"/>
                  </a:lnTo>
                  <a:lnTo>
                    <a:pt x="0" y="335"/>
                  </a:lnTo>
                  <a:lnTo>
                    <a:pt x="5" y="295"/>
                  </a:lnTo>
                  <a:lnTo>
                    <a:pt x="16" y="257"/>
                  </a:lnTo>
                  <a:lnTo>
                    <a:pt x="35" y="224"/>
                  </a:lnTo>
                  <a:lnTo>
                    <a:pt x="58" y="195"/>
                  </a:lnTo>
                  <a:lnTo>
                    <a:pt x="88" y="171"/>
                  </a:lnTo>
                  <a:lnTo>
                    <a:pt x="121" y="154"/>
                  </a:lnTo>
                  <a:lnTo>
                    <a:pt x="158" y="142"/>
                  </a:lnTo>
                  <a:lnTo>
                    <a:pt x="197" y="138"/>
                  </a:lnTo>
                  <a:lnTo>
                    <a:pt x="206" y="138"/>
                  </a:lnTo>
                  <a:lnTo>
                    <a:pt x="220" y="105"/>
                  </a:lnTo>
                  <a:lnTo>
                    <a:pt x="239" y="76"/>
                  </a:lnTo>
                  <a:lnTo>
                    <a:pt x="263" y="50"/>
                  </a:lnTo>
                  <a:lnTo>
                    <a:pt x="291" y="29"/>
                  </a:lnTo>
                  <a:lnTo>
                    <a:pt x="322" y="13"/>
                  </a:lnTo>
                  <a:lnTo>
                    <a:pt x="357" y="4"/>
                  </a:lnTo>
                  <a:lnTo>
                    <a:pt x="3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79"/>
            <p:cNvSpPr>
              <a:spLocks noEditPoints="1"/>
            </p:cNvSpPr>
            <p:nvPr/>
          </p:nvSpPr>
          <p:spPr bwMode="auto">
            <a:xfrm>
              <a:off x="3448050" y="1733550"/>
              <a:ext cx="230187" cy="365125"/>
            </a:xfrm>
            <a:custGeom>
              <a:avLst/>
              <a:gdLst>
                <a:gd name="T0" fmla="*/ 84 w 145"/>
                <a:gd name="T1" fmla="*/ 179 h 230"/>
                <a:gd name="T2" fmla="*/ 97 w 145"/>
                <a:gd name="T3" fmla="*/ 173 h 230"/>
                <a:gd name="T4" fmla="*/ 107 w 145"/>
                <a:gd name="T5" fmla="*/ 164 h 230"/>
                <a:gd name="T6" fmla="*/ 110 w 145"/>
                <a:gd name="T7" fmla="*/ 153 h 230"/>
                <a:gd name="T8" fmla="*/ 107 w 145"/>
                <a:gd name="T9" fmla="*/ 141 h 230"/>
                <a:gd name="T10" fmla="*/ 98 w 145"/>
                <a:gd name="T11" fmla="*/ 134 h 230"/>
                <a:gd name="T12" fmla="*/ 84 w 145"/>
                <a:gd name="T13" fmla="*/ 128 h 230"/>
                <a:gd name="T14" fmla="*/ 56 w 145"/>
                <a:gd name="T15" fmla="*/ 44 h 230"/>
                <a:gd name="T16" fmla="*/ 49 w 145"/>
                <a:gd name="T17" fmla="*/ 49 h 230"/>
                <a:gd name="T18" fmla="*/ 43 w 145"/>
                <a:gd name="T19" fmla="*/ 58 h 230"/>
                <a:gd name="T20" fmla="*/ 45 w 145"/>
                <a:gd name="T21" fmla="*/ 69 h 230"/>
                <a:gd name="T22" fmla="*/ 52 w 145"/>
                <a:gd name="T23" fmla="*/ 79 h 230"/>
                <a:gd name="T24" fmla="*/ 62 w 145"/>
                <a:gd name="T25" fmla="*/ 85 h 230"/>
                <a:gd name="T26" fmla="*/ 62 w 145"/>
                <a:gd name="T27" fmla="*/ 0 h 230"/>
                <a:gd name="T28" fmla="*/ 84 w 145"/>
                <a:gd name="T29" fmla="*/ 13 h 230"/>
                <a:gd name="T30" fmla="*/ 122 w 145"/>
                <a:gd name="T31" fmla="*/ 26 h 230"/>
                <a:gd name="T32" fmla="*/ 140 w 145"/>
                <a:gd name="T33" fmla="*/ 58 h 230"/>
                <a:gd name="T34" fmla="*/ 99 w 145"/>
                <a:gd name="T35" fmla="*/ 55 h 230"/>
                <a:gd name="T36" fmla="*/ 91 w 145"/>
                <a:gd name="T37" fmla="*/ 45 h 230"/>
                <a:gd name="T38" fmla="*/ 84 w 145"/>
                <a:gd name="T39" fmla="*/ 91 h 230"/>
                <a:gd name="T40" fmla="*/ 121 w 145"/>
                <a:gd name="T41" fmla="*/ 105 h 230"/>
                <a:gd name="T42" fmla="*/ 143 w 145"/>
                <a:gd name="T43" fmla="*/ 128 h 230"/>
                <a:gd name="T44" fmla="*/ 144 w 145"/>
                <a:gd name="T45" fmla="*/ 163 h 230"/>
                <a:gd name="T46" fmla="*/ 130 w 145"/>
                <a:gd name="T47" fmla="*/ 187 h 230"/>
                <a:gd name="T48" fmla="*/ 102 w 145"/>
                <a:gd name="T49" fmla="*/ 203 h 230"/>
                <a:gd name="T50" fmla="*/ 84 w 145"/>
                <a:gd name="T51" fmla="*/ 230 h 230"/>
                <a:gd name="T52" fmla="*/ 62 w 145"/>
                <a:gd name="T53" fmla="*/ 207 h 230"/>
                <a:gd name="T54" fmla="*/ 20 w 145"/>
                <a:gd name="T55" fmla="*/ 190 h 230"/>
                <a:gd name="T56" fmla="*/ 5 w 145"/>
                <a:gd name="T57" fmla="*/ 167 h 230"/>
                <a:gd name="T58" fmla="*/ 39 w 145"/>
                <a:gd name="T59" fmla="*/ 147 h 230"/>
                <a:gd name="T60" fmla="*/ 43 w 145"/>
                <a:gd name="T61" fmla="*/ 160 h 230"/>
                <a:gd name="T62" fmla="*/ 55 w 145"/>
                <a:gd name="T63" fmla="*/ 171 h 230"/>
                <a:gd name="T64" fmla="*/ 62 w 145"/>
                <a:gd name="T65" fmla="*/ 123 h 230"/>
                <a:gd name="T66" fmla="*/ 19 w 145"/>
                <a:gd name="T67" fmla="*/ 101 h 230"/>
                <a:gd name="T68" fmla="*/ 6 w 145"/>
                <a:gd name="T69" fmla="*/ 65 h 230"/>
                <a:gd name="T70" fmla="*/ 22 w 145"/>
                <a:gd name="T71" fmla="*/ 29 h 230"/>
                <a:gd name="T72" fmla="*/ 62 w 145"/>
                <a:gd name="T73" fmla="*/ 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5" h="230">
                  <a:moveTo>
                    <a:pt x="84" y="128"/>
                  </a:moveTo>
                  <a:lnTo>
                    <a:pt x="84" y="179"/>
                  </a:lnTo>
                  <a:lnTo>
                    <a:pt x="91" y="176"/>
                  </a:lnTo>
                  <a:lnTo>
                    <a:pt x="97" y="173"/>
                  </a:lnTo>
                  <a:lnTo>
                    <a:pt x="102" y="169"/>
                  </a:lnTo>
                  <a:lnTo>
                    <a:pt x="107" y="164"/>
                  </a:lnTo>
                  <a:lnTo>
                    <a:pt x="108" y="159"/>
                  </a:lnTo>
                  <a:lnTo>
                    <a:pt x="110" y="153"/>
                  </a:lnTo>
                  <a:lnTo>
                    <a:pt x="108" y="147"/>
                  </a:lnTo>
                  <a:lnTo>
                    <a:pt x="107" y="141"/>
                  </a:lnTo>
                  <a:lnTo>
                    <a:pt x="104" y="137"/>
                  </a:lnTo>
                  <a:lnTo>
                    <a:pt x="98" y="134"/>
                  </a:lnTo>
                  <a:lnTo>
                    <a:pt x="92" y="130"/>
                  </a:lnTo>
                  <a:lnTo>
                    <a:pt x="84" y="128"/>
                  </a:lnTo>
                  <a:close/>
                  <a:moveTo>
                    <a:pt x="62" y="41"/>
                  </a:moveTo>
                  <a:lnTo>
                    <a:pt x="56" y="44"/>
                  </a:lnTo>
                  <a:lnTo>
                    <a:pt x="52" y="46"/>
                  </a:lnTo>
                  <a:lnTo>
                    <a:pt x="49" y="49"/>
                  </a:lnTo>
                  <a:lnTo>
                    <a:pt x="46" y="54"/>
                  </a:lnTo>
                  <a:lnTo>
                    <a:pt x="43" y="58"/>
                  </a:lnTo>
                  <a:lnTo>
                    <a:pt x="43" y="64"/>
                  </a:lnTo>
                  <a:lnTo>
                    <a:pt x="45" y="69"/>
                  </a:lnTo>
                  <a:lnTo>
                    <a:pt x="48" y="77"/>
                  </a:lnTo>
                  <a:lnTo>
                    <a:pt x="52" y="79"/>
                  </a:lnTo>
                  <a:lnTo>
                    <a:pt x="56" y="82"/>
                  </a:lnTo>
                  <a:lnTo>
                    <a:pt x="62" y="85"/>
                  </a:lnTo>
                  <a:lnTo>
                    <a:pt x="62" y="41"/>
                  </a:lnTo>
                  <a:close/>
                  <a:moveTo>
                    <a:pt x="62" y="0"/>
                  </a:moveTo>
                  <a:lnTo>
                    <a:pt x="84" y="0"/>
                  </a:lnTo>
                  <a:lnTo>
                    <a:pt x="84" y="13"/>
                  </a:lnTo>
                  <a:lnTo>
                    <a:pt x="105" y="18"/>
                  </a:lnTo>
                  <a:lnTo>
                    <a:pt x="122" y="26"/>
                  </a:lnTo>
                  <a:lnTo>
                    <a:pt x="134" y="41"/>
                  </a:lnTo>
                  <a:lnTo>
                    <a:pt x="140" y="58"/>
                  </a:lnTo>
                  <a:lnTo>
                    <a:pt x="102" y="62"/>
                  </a:lnTo>
                  <a:lnTo>
                    <a:pt x="99" y="55"/>
                  </a:lnTo>
                  <a:lnTo>
                    <a:pt x="95" y="49"/>
                  </a:lnTo>
                  <a:lnTo>
                    <a:pt x="91" y="45"/>
                  </a:lnTo>
                  <a:lnTo>
                    <a:pt x="84" y="41"/>
                  </a:lnTo>
                  <a:lnTo>
                    <a:pt x="84" y="91"/>
                  </a:lnTo>
                  <a:lnTo>
                    <a:pt x="105" y="98"/>
                  </a:lnTo>
                  <a:lnTo>
                    <a:pt x="121" y="105"/>
                  </a:lnTo>
                  <a:lnTo>
                    <a:pt x="133" y="114"/>
                  </a:lnTo>
                  <a:lnTo>
                    <a:pt x="143" y="128"/>
                  </a:lnTo>
                  <a:lnTo>
                    <a:pt x="145" y="147"/>
                  </a:lnTo>
                  <a:lnTo>
                    <a:pt x="144" y="163"/>
                  </a:lnTo>
                  <a:lnTo>
                    <a:pt x="138" y="176"/>
                  </a:lnTo>
                  <a:lnTo>
                    <a:pt x="130" y="187"/>
                  </a:lnTo>
                  <a:lnTo>
                    <a:pt x="117" y="196"/>
                  </a:lnTo>
                  <a:lnTo>
                    <a:pt x="102" y="203"/>
                  </a:lnTo>
                  <a:lnTo>
                    <a:pt x="84" y="206"/>
                  </a:lnTo>
                  <a:lnTo>
                    <a:pt x="84" y="230"/>
                  </a:lnTo>
                  <a:lnTo>
                    <a:pt x="62" y="230"/>
                  </a:lnTo>
                  <a:lnTo>
                    <a:pt x="62" y="207"/>
                  </a:lnTo>
                  <a:lnTo>
                    <a:pt x="39" y="202"/>
                  </a:lnTo>
                  <a:lnTo>
                    <a:pt x="20" y="190"/>
                  </a:lnTo>
                  <a:lnTo>
                    <a:pt x="12" y="180"/>
                  </a:lnTo>
                  <a:lnTo>
                    <a:pt x="5" y="167"/>
                  </a:lnTo>
                  <a:lnTo>
                    <a:pt x="0" y="151"/>
                  </a:lnTo>
                  <a:lnTo>
                    <a:pt x="39" y="147"/>
                  </a:lnTo>
                  <a:lnTo>
                    <a:pt x="41" y="154"/>
                  </a:lnTo>
                  <a:lnTo>
                    <a:pt x="43" y="160"/>
                  </a:lnTo>
                  <a:lnTo>
                    <a:pt x="48" y="166"/>
                  </a:lnTo>
                  <a:lnTo>
                    <a:pt x="55" y="171"/>
                  </a:lnTo>
                  <a:lnTo>
                    <a:pt x="62" y="176"/>
                  </a:lnTo>
                  <a:lnTo>
                    <a:pt x="62" y="123"/>
                  </a:lnTo>
                  <a:lnTo>
                    <a:pt x="38" y="113"/>
                  </a:lnTo>
                  <a:lnTo>
                    <a:pt x="19" y="101"/>
                  </a:lnTo>
                  <a:lnTo>
                    <a:pt x="9" y="84"/>
                  </a:lnTo>
                  <a:lnTo>
                    <a:pt x="6" y="65"/>
                  </a:lnTo>
                  <a:lnTo>
                    <a:pt x="10" y="45"/>
                  </a:lnTo>
                  <a:lnTo>
                    <a:pt x="22" y="29"/>
                  </a:lnTo>
                  <a:lnTo>
                    <a:pt x="39" y="18"/>
                  </a:lnTo>
                  <a:lnTo>
                    <a:pt x="62" y="13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1" name="Freeform 280"/>
          <p:cNvSpPr>
            <a:spLocks noEditPoints="1"/>
          </p:cNvSpPr>
          <p:nvPr/>
        </p:nvSpPr>
        <p:spPr bwMode="auto">
          <a:xfrm>
            <a:off x="4805021" y="2002567"/>
            <a:ext cx="524642" cy="435776"/>
          </a:xfrm>
          <a:custGeom>
            <a:avLst/>
            <a:gdLst>
              <a:gd name="T0" fmla="*/ 231 w 614"/>
              <a:gd name="T1" fmla="*/ 38 h 510"/>
              <a:gd name="T2" fmla="*/ 226 w 614"/>
              <a:gd name="T3" fmla="*/ 38 h 510"/>
              <a:gd name="T4" fmla="*/ 221 w 614"/>
              <a:gd name="T5" fmla="*/ 40 h 510"/>
              <a:gd name="T6" fmla="*/ 218 w 614"/>
              <a:gd name="T7" fmla="*/ 43 h 510"/>
              <a:gd name="T8" fmla="*/ 216 w 614"/>
              <a:gd name="T9" fmla="*/ 48 h 510"/>
              <a:gd name="T10" fmla="*/ 214 w 614"/>
              <a:gd name="T11" fmla="*/ 53 h 510"/>
              <a:gd name="T12" fmla="*/ 214 w 614"/>
              <a:gd name="T13" fmla="*/ 101 h 510"/>
              <a:gd name="T14" fmla="*/ 395 w 614"/>
              <a:gd name="T15" fmla="*/ 101 h 510"/>
              <a:gd name="T16" fmla="*/ 395 w 614"/>
              <a:gd name="T17" fmla="*/ 53 h 510"/>
              <a:gd name="T18" fmla="*/ 394 w 614"/>
              <a:gd name="T19" fmla="*/ 48 h 510"/>
              <a:gd name="T20" fmla="*/ 392 w 614"/>
              <a:gd name="T21" fmla="*/ 43 h 510"/>
              <a:gd name="T22" fmla="*/ 388 w 614"/>
              <a:gd name="T23" fmla="*/ 40 h 510"/>
              <a:gd name="T24" fmla="*/ 384 w 614"/>
              <a:gd name="T25" fmla="*/ 38 h 510"/>
              <a:gd name="T26" fmla="*/ 379 w 614"/>
              <a:gd name="T27" fmla="*/ 38 h 510"/>
              <a:gd name="T28" fmla="*/ 231 w 614"/>
              <a:gd name="T29" fmla="*/ 38 h 510"/>
              <a:gd name="T30" fmla="*/ 193 w 614"/>
              <a:gd name="T31" fmla="*/ 0 h 510"/>
              <a:gd name="T32" fmla="*/ 417 w 614"/>
              <a:gd name="T33" fmla="*/ 0 h 510"/>
              <a:gd name="T34" fmla="*/ 423 w 614"/>
              <a:gd name="T35" fmla="*/ 0 h 510"/>
              <a:gd name="T36" fmla="*/ 427 w 614"/>
              <a:gd name="T37" fmla="*/ 3 h 510"/>
              <a:gd name="T38" fmla="*/ 430 w 614"/>
              <a:gd name="T39" fmla="*/ 6 h 510"/>
              <a:gd name="T40" fmla="*/ 433 w 614"/>
              <a:gd name="T41" fmla="*/ 10 h 510"/>
              <a:gd name="T42" fmla="*/ 433 w 614"/>
              <a:gd name="T43" fmla="*/ 16 h 510"/>
              <a:gd name="T44" fmla="*/ 433 w 614"/>
              <a:gd name="T45" fmla="*/ 101 h 510"/>
              <a:gd name="T46" fmla="*/ 598 w 614"/>
              <a:gd name="T47" fmla="*/ 101 h 510"/>
              <a:gd name="T48" fmla="*/ 604 w 614"/>
              <a:gd name="T49" fmla="*/ 101 h 510"/>
              <a:gd name="T50" fmla="*/ 608 w 614"/>
              <a:gd name="T51" fmla="*/ 104 h 510"/>
              <a:gd name="T52" fmla="*/ 611 w 614"/>
              <a:gd name="T53" fmla="*/ 107 h 510"/>
              <a:gd name="T54" fmla="*/ 614 w 614"/>
              <a:gd name="T55" fmla="*/ 111 h 510"/>
              <a:gd name="T56" fmla="*/ 614 w 614"/>
              <a:gd name="T57" fmla="*/ 117 h 510"/>
              <a:gd name="T58" fmla="*/ 614 w 614"/>
              <a:gd name="T59" fmla="*/ 493 h 510"/>
              <a:gd name="T60" fmla="*/ 614 w 614"/>
              <a:gd name="T61" fmla="*/ 499 h 510"/>
              <a:gd name="T62" fmla="*/ 611 w 614"/>
              <a:gd name="T63" fmla="*/ 503 h 510"/>
              <a:gd name="T64" fmla="*/ 608 w 614"/>
              <a:gd name="T65" fmla="*/ 506 h 510"/>
              <a:gd name="T66" fmla="*/ 604 w 614"/>
              <a:gd name="T67" fmla="*/ 509 h 510"/>
              <a:gd name="T68" fmla="*/ 598 w 614"/>
              <a:gd name="T69" fmla="*/ 510 h 510"/>
              <a:gd name="T70" fmla="*/ 16 w 614"/>
              <a:gd name="T71" fmla="*/ 510 h 510"/>
              <a:gd name="T72" fmla="*/ 11 w 614"/>
              <a:gd name="T73" fmla="*/ 509 h 510"/>
              <a:gd name="T74" fmla="*/ 7 w 614"/>
              <a:gd name="T75" fmla="*/ 506 h 510"/>
              <a:gd name="T76" fmla="*/ 3 w 614"/>
              <a:gd name="T77" fmla="*/ 503 h 510"/>
              <a:gd name="T78" fmla="*/ 1 w 614"/>
              <a:gd name="T79" fmla="*/ 499 h 510"/>
              <a:gd name="T80" fmla="*/ 0 w 614"/>
              <a:gd name="T81" fmla="*/ 493 h 510"/>
              <a:gd name="T82" fmla="*/ 0 w 614"/>
              <a:gd name="T83" fmla="*/ 117 h 510"/>
              <a:gd name="T84" fmla="*/ 1 w 614"/>
              <a:gd name="T85" fmla="*/ 111 h 510"/>
              <a:gd name="T86" fmla="*/ 3 w 614"/>
              <a:gd name="T87" fmla="*/ 107 h 510"/>
              <a:gd name="T88" fmla="*/ 7 w 614"/>
              <a:gd name="T89" fmla="*/ 104 h 510"/>
              <a:gd name="T90" fmla="*/ 11 w 614"/>
              <a:gd name="T91" fmla="*/ 101 h 510"/>
              <a:gd name="T92" fmla="*/ 16 w 614"/>
              <a:gd name="T93" fmla="*/ 101 h 510"/>
              <a:gd name="T94" fmla="*/ 177 w 614"/>
              <a:gd name="T95" fmla="*/ 101 h 510"/>
              <a:gd name="T96" fmla="*/ 177 w 614"/>
              <a:gd name="T97" fmla="*/ 16 h 510"/>
              <a:gd name="T98" fmla="*/ 178 w 614"/>
              <a:gd name="T99" fmla="*/ 10 h 510"/>
              <a:gd name="T100" fmla="*/ 180 w 614"/>
              <a:gd name="T101" fmla="*/ 6 h 510"/>
              <a:gd name="T102" fmla="*/ 184 w 614"/>
              <a:gd name="T103" fmla="*/ 3 h 510"/>
              <a:gd name="T104" fmla="*/ 188 w 614"/>
              <a:gd name="T105" fmla="*/ 0 h 510"/>
              <a:gd name="T106" fmla="*/ 193 w 614"/>
              <a:gd name="T107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14" h="510">
                <a:moveTo>
                  <a:pt x="231" y="38"/>
                </a:moveTo>
                <a:lnTo>
                  <a:pt x="226" y="38"/>
                </a:lnTo>
                <a:lnTo>
                  <a:pt x="221" y="40"/>
                </a:lnTo>
                <a:lnTo>
                  <a:pt x="218" y="43"/>
                </a:lnTo>
                <a:lnTo>
                  <a:pt x="216" y="48"/>
                </a:lnTo>
                <a:lnTo>
                  <a:pt x="214" y="53"/>
                </a:lnTo>
                <a:lnTo>
                  <a:pt x="214" y="101"/>
                </a:lnTo>
                <a:lnTo>
                  <a:pt x="395" y="101"/>
                </a:lnTo>
                <a:lnTo>
                  <a:pt x="395" y="53"/>
                </a:lnTo>
                <a:lnTo>
                  <a:pt x="394" y="48"/>
                </a:lnTo>
                <a:lnTo>
                  <a:pt x="392" y="43"/>
                </a:lnTo>
                <a:lnTo>
                  <a:pt x="388" y="40"/>
                </a:lnTo>
                <a:lnTo>
                  <a:pt x="384" y="38"/>
                </a:lnTo>
                <a:lnTo>
                  <a:pt x="379" y="38"/>
                </a:lnTo>
                <a:lnTo>
                  <a:pt x="231" y="38"/>
                </a:lnTo>
                <a:close/>
                <a:moveTo>
                  <a:pt x="193" y="0"/>
                </a:moveTo>
                <a:lnTo>
                  <a:pt x="417" y="0"/>
                </a:lnTo>
                <a:lnTo>
                  <a:pt x="423" y="0"/>
                </a:lnTo>
                <a:lnTo>
                  <a:pt x="427" y="3"/>
                </a:lnTo>
                <a:lnTo>
                  <a:pt x="430" y="6"/>
                </a:lnTo>
                <a:lnTo>
                  <a:pt x="433" y="10"/>
                </a:lnTo>
                <a:lnTo>
                  <a:pt x="433" y="16"/>
                </a:lnTo>
                <a:lnTo>
                  <a:pt x="433" y="101"/>
                </a:lnTo>
                <a:lnTo>
                  <a:pt x="598" y="101"/>
                </a:lnTo>
                <a:lnTo>
                  <a:pt x="604" y="101"/>
                </a:lnTo>
                <a:lnTo>
                  <a:pt x="608" y="104"/>
                </a:lnTo>
                <a:lnTo>
                  <a:pt x="611" y="107"/>
                </a:lnTo>
                <a:lnTo>
                  <a:pt x="614" y="111"/>
                </a:lnTo>
                <a:lnTo>
                  <a:pt x="614" y="117"/>
                </a:lnTo>
                <a:lnTo>
                  <a:pt x="614" y="493"/>
                </a:lnTo>
                <a:lnTo>
                  <a:pt x="614" y="499"/>
                </a:lnTo>
                <a:lnTo>
                  <a:pt x="611" y="503"/>
                </a:lnTo>
                <a:lnTo>
                  <a:pt x="608" y="506"/>
                </a:lnTo>
                <a:lnTo>
                  <a:pt x="604" y="509"/>
                </a:lnTo>
                <a:lnTo>
                  <a:pt x="598" y="510"/>
                </a:lnTo>
                <a:lnTo>
                  <a:pt x="16" y="510"/>
                </a:lnTo>
                <a:lnTo>
                  <a:pt x="11" y="509"/>
                </a:lnTo>
                <a:lnTo>
                  <a:pt x="7" y="506"/>
                </a:lnTo>
                <a:lnTo>
                  <a:pt x="3" y="503"/>
                </a:lnTo>
                <a:lnTo>
                  <a:pt x="1" y="499"/>
                </a:lnTo>
                <a:lnTo>
                  <a:pt x="0" y="493"/>
                </a:lnTo>
                <a:lnTo>
                  <a:pt x="0" y="117"/>
                </a:lnTo>
                <a:lnTo>
                  <a:pt x="1" y="111"/>
                </a:lnTo>
                <a:lnTo>
                  <a:pt x="3" y="107"/>
                </a:lnTo>
                <a:lnTo>
                  <a:pt x="7" y="104"/>
                </a:lnTo>
                <a:lnTo>
                  <a:pt x="11" y="101"/>
                </a:lnTo>
                <a:lnTo>
                  <a:pt x="16" y="101"/>
                </a:lnTo>
                <a:lnTo>
                  <a:pt x="177" y="101"/>
                </a:lnTo>
                <a:lnTo>
                  <a:pt x="177" y="16"/>
                </a:lnTo>
                <a:lnTo>
                  <a:pt x="178" y="10"/>
                </a:lnTo>
                <a:lnTo>
                  <a:pt x="180" y="6"/>
                </a:lnTo>
                <a:lnTo>
                  <a:pt x="184" y="3"/>
                </a:lnTo>
                <a:lnTo>
                  <a:pt x="188" y="0"/>
                </a:lnTo>
                <a:lnTo>
                  <a:pt x="19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2" name="Group 281"/>
          <p:cNvGrpSpPr/>
          <p:nvPr/>
        </p:nvGrpSpPr>
        <p:grpSpPr>
          <a:xfrm>
            <a:off x="8794419" y="2905417"/>
            <a:ext cx="480210" cy="481918"/>
            <a:chOff x="6249988" y="3095625"/>
            <a:chExt cx="892175" cy="895350"/>
          </a:xfrm>
          <a:solidFill>
            <a:schemeClr val="accent2"/>
          </a:solidFill>
        </p:grpSpPr>
        <p:sp>
          <p:nvSpPr>
            <p:cNvPr id="283" name="Freeform 282"/>
            <p:cNvSpPr>
              <a:spLocks/>
            </p:cNvSpPr>
            <p:nvPr/>
          </p:nvSpPr>
          <p:spPr bwMode="auto">
            <a:xfrm>
              <a:off x="6754813" y="3095625"/>
              <a:ext cx="387350" cy="401638"/>
            </a:xfrm>
            <a:custGeom>
              <a:avLst/>
              <a:gdLst>
                <a:gd name="T0" fmla="*/ 72 w 244"/>
                <a:gd name="T1" fmla="*/ 0 h 253"/>
                <a:gd name="T2" fmla="*/ 112 w 244"/>
                <a:gd name="T3" fmla="*/ 18 h 253"/>
                <a:gd name="T4" fmla="*/ 149 w 244"/>
                <a:gd name="T5" fmla="*/ 39 h 253"/>
                <a:gd name="T6" fmla="*/ 181 w 244"/>
                <a:gd name="T7" fmla="*/ 68 h 253"/>
                <a:gd name="T8" fmla="*/ 208 w 244"/>
                <a:gd name="T9" fmla="*/ 101 h 253"/>
                <a:gd name="T10" fmla="*/ 230 w 244"/>
                <a:gd name="T11" fmla="*/ 140 h 253"/>
                <a:gd name="T12" fmla="*/ 244 w 244"/>
                <a:gd name="T13" fmla="*/ 180 h 253"/>
                <a:gd name="T14" fmla="*/ 0 w 244"/>
                <a:gd name="T15" fmla="*/ 253 h 253"/>
                <a:gd name="T16" fmla="*/ 72 w 244"/>
                <a:gd name="T1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4" h="253">
                  <a:moveTo>
                    <a:pt x="72" y="0"/>
                  </a:moveTo>
                  <a:lnTo>
                    <a:pt x="112" y="18"/>
                  </a:lnTo>
                  <a:lnTo>
                    <a:pt x="149" y="39"/>
                  </a:lnTo>
                  <a:lnTo>
                    <a:pt x="181" y="68"/>
                  </a:lnTo>
                  <a:lnTo>
                    <a:pt x="208" y="101"/>
                  </a:lnTo>
                  <a:lnTo>
                    <a:pt x="230" y="140"/>
                  </a:lnTo>
                  <a:lnTo>
                    <a:pt x="244" y="180"/>
                  </a:lnTo>
                  <a:lnTo>
                    <a:pt x="0" y="253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83"/>
            <p:cNvSpPr>
              <a:spLocks/>
            </p:cNvSpPr>
            <p:nvPr/>
          </p:nvSpPr>
          <p:spPr bwMode="auto">
            <a:xfrm>
              <a:off x="6249988" y="3187700"/>
              <a:ext cx="806450" cy="803275"/>
            </a:xfrm>
            <a:custGeom>
              <a:avLst/>
              <a:gdLst>
                <a:gd name="T0" fmla="*/ 255 w 508"/>
                <a:gd name="T1" fmla="*/ 0 h 506"/>
                <a:gd name="T2" fmla="*/ 291 w 508"/>
                <a:gd name="T3" fmla="*/ 3 h 506"/>
                <a:gd name="T4" fmla="*/ 327 w 508"/>
                <a:gd name="T5" fmla="*/ 10 h 506"/>
                <a:gd name="T6" fmla="*/ 255 w 508"/>
                <a:gd name="T7" fmla="*/ 263 h 506"/>
                <a:gd name="T8" fmla="*/ 499 w 508"/>
                <a:gd name="T9" fmla="*/ 190 h 506"/>
                <a:gd name="T10" fmla="*/ 505 w 508"/>
                <a:gd name="T11" fmla="*/ 221 h 506"/>
                <a:gd name="T12" fmla="*/ 508 w 508"/>
                <a:gd name="T13" fmla="*/ 253 h 506"/>
                <a:gd name="T14" fmla="*/ 503 w 508"/>
                <a:gd name="T15" fmla="*/ 299 h 506"/>
                <a:gd name="T16" fmla="*/ 492 w 508"/>
                <a:gd name="T17" fmla="*/ 342 h 506"/>
                <a:gd name="T18" fmla="*/ 473 w 508"/>
                <a:gd name="T19" fmla="*/ 381 h 506"/>
                <a:gd name="T20" fmla="*/ 447 w 508"/>
                <a:gd name="T21" fmla="*/ 417 h 506"/>
                <a:gd name="T22" fmla="*/ 417 w 508"/>
                <a:gd name="T23" fmla="*/ 447 h 506"/>
                <a:gd name="T24" fmla="*/ 383 w 508"/>
                <a:gd name="T25" fmla="*/ 471 h 506"/>
                <a:gd name="T26" fmla="*/ 342 w 508"/>
                <a:gd name="T27" fmla="*/ 490 h 506"/>
                <a:gd name="T28" fmla="*/ 299 w 508"/>
                <a:gd name="T29" fmla="*/ 502 h 506"/>
                <a:gd name="T30" fmla="*/ 255 w 508"/>
                <a:gd name="T31" fmla="*/ 506 h 506"/>
                <a:gd name="T32" fmla="*/ 209 w 508"/>
                <a:gd name="T33" fmla="*/ 502 h 506"/>
                <a:gd name="T34" fmla="*/ 166 w 508"/>
                <a:gd name="T35" fmla="*/ 490 h 506"/>
                <a:gd name="T36" fmla="*/ 127 w 508"/>
                <a:gd name="T37" fmla="*/ 471 h 506"/>
                <a:gd name="T38" fmla="*/ 91 w 508"/>
                <a:gd name="T39" fmla="*/ 447 h 506"/>
                <a:gd name="T40" fmla="*/ 61 w 508"/>
                <a:gd name="T41" fmla="*/ 417 h 506"/>
                <a:gd name="T42" fmla="*/ 36 w 508"/>
                <a:gd name="T43" fmla="*/ 381 h 506"/>
                <a:gd name="T44" fmla="*/ 18 w 508"/>
                <a:gd name="T45" fmla="*/ 342 h 506"/>
                <a:gd name="T46" fmla="*/ 5 w 508"/>
                <a:gd name="T47" fmla="*/ 299 h 506"/>
                <a:gd name="T48" fmla="*/ 0 w 508"/>
                <a:gd name="T49" fmla="*/ 253 h 506"/>
                <a:gd name="T50" fmla="*/ 5 w 508"/>
                <a:gd name="T51" fmla="*/ 207 h 506"/>
                <a:gd name="T52" fmla="*/ 18 w 508"/>
                <a:gd name="T53" fmla="*/ 165 h 506"/>
                <a:gd name="T54" fmla="*/ 36 w 508"/>
                <a:gd name="T55" fmla="*/ 125 h 506"/>
                <a:gd name="T56" fmla="*/ 61 w 508"/>
                <a:gd name="T57" fmla="*/ 91 h 506"/>
                <a:gd name="T58" fmla="*/ 91 w 508"/>
                <a:gd name="T59" fmla="*/ 59 h 506"/>
                <a:gd name="T60" fmla="*/ 127 w 508"/>
                <a:gd name="T61" fmla="*/ 34 h 506"/>
                <a:gd name="T62" fmla="*/ 166 w 508"/>
                <a:gd name="T63" fmla="*/ 16 h 506"/>
                <a:gd name="T64" fmla="*/ 209 w 508"/>
                <a:gd name="T65" fmla="*/ 4 h 506"/>
                <a:gd name="T66" fmla="*/ 255 w 508"/>
                <a:gd name="T6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08" h="506">
                  <a:moveTo>
                    <a:pt x="255" y="0"/>
                  </a:moveTo>
                  <a:lnTo>
                    <a:pt x="291" y="3"/>
                  </a:lnTo>
                  <a:lnTo>
                    <a:pt x="327" y="10"/>
                  </a:lnTo>
                  <a:lnTo>
                    <a:pt x="255" y="263"/>
                  </a:lnTo>
                  <a:lnTo>
                    <a:pt x="499" y="190"/>
                  </a:lnTo>
                  <a:lnTo>
                    <a:pt x="505" y="221"/>
                  </a:lnTo>
                  <a:lnTo>
                    <a:pt x="508" y="253"/>
                  </a:lnTo>
                  <a:lnTo>
                    <a:pt x="503" y="299"/>
                  </a:lnTo>
                  <a:lnTo>
                    <a:pt x="492" y="342"/>
                  </a:lnTo>
                  <a:lnTo>
                    <a:pt x="473" y="381"/>
                  </a:lnTo>
                  <a:lnTo>
                    <a:pt x="447" y="417"/>
                  </a:lnTo>
                  <a:lnTo>
                    <a:pt x="417" y="447"/>
                  </a:lnTo>
                  <a:lnTo>
                    <a:pt x="383" y="471"/>
                  </a:lnTo>
                  <a:lnTo>
                    <a:pt x="342" y="490"/>
                  </a:lnTo>
                  <a:lnTo>
                    <a:pt x="299" y="502"/>
                  </a:lnTo>
                  <a:lnTo>
                    <a:pt x="255" y="506"/>
                  </a:lnTo>
                  <a:lnTo>
                    <a:pt x="209" y="502"/>
                  </a:lnTo>
                  <a:lnTo>
                    <a:pt x="166" y="490"/>
                  </a:lnTo>
                  <a:lnTo>
                    <a:pt x="127" y="471"/>
                  </a:lnTo>
                  <a:lnTo>
                    <a:pt x="91" y="447"/>
                  </a:lnTo>
                  <a:lnTo>
                    <a:pt x="61" y="417"/>
                  </a:lnTo>
                  <a:lnTo>
                    <a:pt x="36" y="381"/>
                  </a:lnTo>
                  <a:lnTo>
                    <a:pt x="18" y="342"/>
                  </a:lnTo>
                  <a:lnTo>
                    <a:pt x="5" y="299"/>
                  </a:lnTo>
                  <a:lnTo>
                    <a:pt x="0" y="253"/>
                  </a:lnTo>
                  <a:lnTo>
                    <a:pt x="5" y="207"/>
                  </a:lnTo>
                  <a:lnTo>
                    <a:pt x="18" y="165"/>
                  </a:lnTo>
                  <a:lnTo>
                    <a:pt x="36" y="125"/>
                  </a:lnTo>
                  <a:lnTo>
                    <a:pt x="61" y="91"/>
                  </a:lnTo>
                  <a:lnTo>
                    <a:pt x="91" y="59"/>
                  </a:lnTo>
                  <a:lnTo>
                    <a:pt x="127" y="34"/>
                  </a:lnTo>
                  <a:lnTo>
                    <a:pt x="166" y="16"/>
                  </a:lnTo>
                  <a:lnTo>
                    <a:pt x="209" y="4"/>
                  </a:lnTo>
                  <a:lnTo>
                    <a:pt x="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5" name="Group 284"/>
          <p:cNvGrpSpPr/>
          <p:nvPr/>
        </p:nvGrpSpPr>
        <p:grpSpPr>
          <a:xfrm>
            <a:off x="6884643" y="4737037"/>
            <a:ext cx="499862" cy="484480"/>
            <a:chOff x="7913688" y="3141663"/>
            <a:chExt cx="928687" cy="900113"/>
          </a:xfrm>
          <a:solidFill>
            <a:schemeClr val="accent6"/>
          </a:solidFill>
        </p:grpSpPr>
        <p:sp>
          <p:nvSpPr>
            <p:cNvPr id="286" name="Freeform 285"/>
            <p:cNvSpPr>
              <a:spLocks noEditPoints="1"/>
            </p:cNvSpPr>
            <p:nvPr/>
          </p:nvSpPr>
          <p:spPr bwMode="auto">
            <a:xfrm>
              <a:off x="7913688" y="3141663"/>
              <a:ext cx="928687" cy="900113"/>
            </a:xfrm>
            <a:custGeom>
              <a:avLst/>
              <a:gdLst>
                <a:gd name="T0" fmla="*/ 292 w 585"/>
                <a:gd name="T1" fmla="*/ 107 h 567"/>
                <a:gd name="T2" fmla="*/ 254 w 585"/>
                <a:gd name="T3" fmla="*/ 111 h 567"/>
                <a:gd name="T4" fmla="*/ 221 w 585"/>
                <a:gd name="T5" fmla="*/ 122 h 567"/>
                <a:gd name="T6" fmla="*/ 191 w 585"/>
                <a:gd name="T7" fmla="*/ 141 h 567"/>
                <a:gd name="T8" fmla="*/ 165 w 585"/>
                <a:gd name="T9" fmla="*/ 167 h 567"/>
                <a:gd name="T10" fmla="*/ 147 w 585"/>
                <a:gd name="T11" fmla="*/ 197 h 567"/>
                <a:gd name="T12" fmla="*/ 134 w 585"/>
                <a:gd name="T13" fmla="*/ 232 h 567"/>
                <a:gd name="T14" fmla="*/ 129 w 585"/>
                <a:gd name="T15" fmla="*/ 269 h 567"/>
                <a:gd name="T16" fmla="*/ 134 w 585"/>
                <a:gd name="T17" fmla="*/ 305 h 567"/>
                <a:gd name="T18" fmla="*/ 147 w 585"/>
                <a:gd name="T19" fmla="*/ 339 h 567"/>
                <a:gd name="T20" fmla="*/ 165 w 585"/>
                <a:gd name="T21" fmla="*/ 370 h 567"/>
                <a:gd name="T22" fmla="*/ 191 w 585"/>
                <a:gd name="T23" fmla="*/ 395 h 567"/>
                <a:gd name="T24" fmla="*/ 221 w 585"/>
                <a:gd name="T25" fmla="*/ 414 h 567"/>
                <a:gd name="T26" fmla="*/ 254 w 585"/>
                <a:gd name="T27" fmla="*/ 426 h 567"/>
                <a:gd name="T28" fmla="*/ 292 w 585"/>
                <a:gd name="T29" fmla="*/ 430 h 567"/>
                <a:gd name="T30" fmla="*/ 329 w 585"/>
                <a:gd name="T31" fmla="*/ 426 h 567"/>
                <a:gd name="T32" fmla="*/ 364 w 585"/>
                <a:gd name="T33" fmla="*/ 414 h 567"/>
                <a:gd name="T34" fmla="*/ 394 w 585"/>
                <a:gd name="T35" fmla="*/ 395 h 567"/>
                <a:gd name="T36" fmla="*/ 418 w 585"/>
                <a:gd name="T37" fmla="*/ 370 h 567"/>
                <a:gd name="T38" fmla="*/ 438 w 585"/>
                <a:gd name="T39" fmla="*/ 339 h 567"/>
                <a:gd name="T40" fmla="*/ 450 w 585"/>
                <a:gd name="T41" fmla="*/ 305 h 567"/>
                <a:gd name="T42" fmla="*/ 454 w 585"/>
                <a:gd name="T43" fmla="*/ 269 h 567"/>
                <a:gd name="T44" fmla="*/ 450 w 585"/>
                <a:gd name="T45" fmla="*/ 232 h 567"/>
                <a:gd name="T46" fmla="*/ 438 w 585"/>
                <a:gd name="T47" fmla="*/ 197 h 567"/>
                <a:gd name="T48" fmla="*/ 418 w 585"/>
                <a:gd name="T49" fmla="*/ 167 h 567"/>
                <a:gd name="T50" fmla="*/ 394 w 585"/>
                <a:gd name="T51" fmla="*/ 141 h 567"/>
                <a:gd name="T52" fmla="*/ 364 w 585"/>
                <a:gd name="T53" fmla="*/ 122 h 567"/>
                <a:gd name="T54" fmla="*/ 329 w 585"/>
                <a:gd name="T55" fmla="*/ 111 h 567"/>
                <a:gd name="T56" fmla="*/ 292 w 585"/>
                <a:gd name="T57" fmla="*/ 107 h 567"/>
                <a:gd name="T58" fmla="*/ 16 w 585"/>
                <a:gd name="T59" fmla="*/ 0 h 567"/>
                <a:gd name="T60" fmla="*/ 568 w 585"/>
                <a:gd name="T61" fmla="*/ 0 h 567"/>
                <a:gd name="T62" fmla="*/ 574 w 585"/>
                <a:gd name="T63" fmla="*/ 0 h 567"/>
                <a:gd name="T64" fmla="*/ 578 w 585"/>
                <a:gd name="T65" fmla="*/ 3 h 567"/>
                <a:gd name="T66" fmla="*/ 581 w 585"/>
                <a:gd name="T67" fmla="*/ 6 h 567"/>
                <a:gd name="T68" fmla="*/ 584 w 585"/>
                <a:gd name="T69" fmla="*/ 10 h 567"/>
                <a:gd name="T70" fmla="*/ 585 w 585"/>
                <a:gd name="T71" fmla="*/ 16 h 567"/>
                <a:gd name="T72" fmla="*/ 585 w 585"/>
                <a:gd name="T73" fmla="*/ 521 h 567"/>
                <a:gd name="T74" fmla="*/ 584 w 585"/>
                <a:gd name="T75" fmla="*/ 526 h 567"/>
                <a:gd name="T76" fmla="*/ 581 w 585"/>
                <a:gd name="T77" fmla="*/ 531 h 567"/>
                <a:gd name="T78" fmla="*/ 578 w 585"/>
                <a:gd name="T79" fmla="*/ 533 h 567"/>
                <a:gd name="T80" fmla="*/ 574 w 585"/>
                <a:gd name="T81" fmla="*/ 536 h 567"/>
                <a:gd name="T82" fmla="*/ 568 w 585"/>
                <a:gd name="T83" fmla="*/ 536 h 567"/>
                <a:gd name="T84" fmla="*/ 471 w 585"/>
                <a:gd name="T85" fmla="*/ 536 h 567"/>
                <a:gd name="T86" fmla="*/ 471 w 585"/>
                <a:gd name="T87" fmla="*/ 567 h 567"/>
                <a:gd name="T88" fmla="*/ 348 w 585"/>
                <a:gd name="T89" fmla="*/ 567 h 567"/>
                <a:gd name="T90" fmla="*/ 348 w 585"/>
                <a:gd name="T91" fmla="*/ 536 h 567"/>
                <a:gd name="T92" fmla="*/ 234 w 585"/>
                <a:gd name="T93" fmla="*/ 536 h 567"/>
                <a:gd name="T94" fmla="*/ 234 w 585"/>
                <a:gd name="T95" fmla="*/ 567 h 567"/>
                <a:gd name="T96" fmla="*/ 111 w 585"/>
                <a:gd name="T97" fmla="*/ 567 h 567"/>
                <a:gd name="T98" fmla="*/ 111 w 585"/>
                <a:gd name="T99" fmla="*/ 536 h 567"/>
                <a:gd name="T100" fmla="*/ 16 w 585"/>
                <a:gd name="T101" fmla="*/ 536 h 567"/>
                <a:gd name="T102" fmla="*/ 12 w 585"/>
                <a:gd name="T103" fmla="*/ 536 h 567"/>
                <a:gd name="T104" fmla="*/ 6 w 585"/>
                <a:gd name="T105" fmla="*/ 533 h 567"/>
                <a:gd name="T106" fmla="*/ 3 w 585"/>
                <a:gd name="T107" fmla="*/ 531 h 567"/>
                <a:gd name="T108" fmla="*/ 0 w 585"/>
                <a:gd name="T109" fmla="*/ 526 h 567"/>
                <a:gd name="T110" fmla="*/ 0 w 585"/>
                <a:gd name="T111" fmla="*/ 521 h 567"/>
                <a:gd name="T112" fmla="*/ 0 w 585"/>
                <a:gd name="T113" fmla="*/ 16 h 567"/>
                <a:gd name="T114" fmla="*/ 0 w 585"/>
                <a:gd name="T115" fmla="*/ 10 h 567"/>
                <a:gd name="T116" fmla="*/ 3 w 585"/>
                <a:gd name="T117" fmla="*/ 6 h 567"/>
                <a:gd name="T118" fmla="*/ 6 w 585"/>
                <a:gd name="T119" fmla="*/ 3 h 567"/>
                <a:gd name="T120" fmla="*/ 12 w 585"/>
                <a:gd name="T121" fmla="*/ 0 h 567"/>
                <a:gd name="T122" fmla="*/ 16 w 585"/>
                <a:gd name="T123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5" h="567">
                  <a:moveTo>
                    <a:pt x="292" y="107"/>
                  </a:moveTo>
                  <a:lnTo>
                    <a:pt x="254" y="111"/>
                  </a:lnTo>
                  <a:lnTo>
                    <a:pt x="221" y="122"/>
                  </a:lnTo>
                  <a:lnTo>
                    <a:pt x="191" y="141"/>
                  </a:lnTo>
                  <a:lnTo>
                    <a:pt x="165" y="167"/>
                  </a:lnTo>
                  <a:lnTo>
                    <a:pt x="147" y="197"/>
                  </a:lnTo>
                  <a:lnTo>
                    <a:pt x="134" y="232"/>
                  </a:lnTo>
                  <a:lnTo>
                    <a:pt x="129" y="269"/>
                  </a:lnTo>
                  <a:lnTo>
                    <a:pt x="134" y="305"/>
                  </a:lnTo>
                  <a:lnTo>
                    <a:pt x="147" y="339"/>
                  </a:lnTo>
                  <a:lnTo>
                    <a:pt x="165" y="370"/>
                  </a:lnTo>
                  <a:lnTo>
                    <a:pt x="191" y="395"/>
                  </a:lnTo>
                  <a:lnTo>
                    <a:pt x="221" y="414"/>
                  </a:lnTo>
                  <a:lnTo>
                    <a:pt x="254" y="426"/>
                  </a:lnTo>
                  <a:lnTo>
                    <a:pt x="292" y="430"/>
                  </a:lnTo>
                  <a:lnTo>
                    <a:pt x="329" y="426"/>
                  </a:lnTo>
                  <a:lnTo>
                    <a:pt x="364" y="414"/>
                  </a:lnTo>
                  <a:lnTo>
                    <a:pt x="394" y="395"/>
                  </a:lnTo>
                  <a:lnTo>
                    <a:pt x="418" y="370"/>
                  </a:lnTo>
                  <a:lnTo>
                    <a:pt x="438" y="339"/>
                  </a:lnTo>
                  <a:lnTo>
                    <a:pt x="450" y="305"/>
                  </a:lnTo>
                  <a:lnTo>
                    <a:pt x="454" y="269"/>
                  </a:lnTo>
                  <a:lnTo>
                    <a:pt x="450" y="232"/>
                  </a:lnTo>
                  <a:lnTo>
                    <a:pt x="438" y="197"/>
                  </a:lnTo>
                  <a:lnTo>
                    <a:pt x="418" y="167"/>
                  </a:lnTo>
                  <a:lnTo>
                    <a:pt x="394" y="141"/>
                  </a:lnTo>
                  <a:lnTo>
                    <a:pt x="364" y="122"/>
                  </a:lnTo>
                  <a:lnTo>
                    <a:pt x="329" y="111"/>
                  </a:lnTo>
                  <a:lnTo>
                    <a:pt x="292" y="107"/>
                  </a:lnTo>
                  <a:close/>
                  <a:moveTo>
                    <a:pt x="16" y="0"/>
                  </a:moveTo>
                  <a:lnTo>
                    <a:pt x="568" y="0"/>
                  </a:lnTo>
                  <a:lnTo>
                    <a:pt x="574" y="0"/>
                  </a:lnTo>
                  <a:lnTo>
                    <a:pt x="578" y="3"/>
                  </a:lnTo>
                  <a:lnTo>
                    <a:pt x="581" y="6"/>
                  </a:lnTo>
                  <a:lnTo>
                    <a:pt x="584" y="10"/>
                  </a:lnTo>
                  <a:lnTo>
                    <a:pt x="585" y="16"/>
                  </a:lnTo>
                  <a:lnTo>
                    <a:pt x="585" y="521"/>
                  </a:lnTo>
                  <a:lnTo>
                    <a:pt x="584" y="526"/>
                  </a:lnTo>
                  <a:lnTo>
                    <a:pt x="581" y="531"/>
                  </a:lnTo>
                  <a:lnTo>
                    <a:pt x="578" y="533"/>
                  </a:lnTo>
                  <a:lnTo>
                    <a:pt x="574" y="536"/>
                  </a:lnTo>
                  <a:lnTo>
                    <a:pt x="568" y="536"/>
                  </a:lnTo>
                  <a:lnTo>
                    <a:pt x="471" y="536"/>
                  </a:lnTo>
                  <a:lnTo>
                    <a:pt x="471" y="567"/>
                  </a:lnTo>
                  <a:lnTo>
                    <a:pt x="348" y="567"/>
                  </a:lnTo>
                  <a:lnTo>
                    <a:pt x="348" y="536"/>
                  </a:lnTo>
                  <a:lnTo>
                    <a:pt x="234" y="536"/>
                  </a:lnTo>
                  <a:lnTo>
                    <a:pt x="234" y="567"/>
                  </a:lnTo>
                  <a:lnTo>
                    <a:pt x="111" y="567"/>
                  </a:lnTo>
                  <a:lnTo>
                    <a:pt x="111" y="536"/>
                  </a:lnTo>
                  <a:lnTo>
                    <a:pt x="16" y="536"/>
                  </a:lnTo>
                  <a:lnTo>
                    <a:pt x="12" y="536"/>
                  </a:lnTo>
                  <a:lnTo>
                    <a:pt x="6" y="533"/>
                  </a:lnTo>
                  <a:lnTo>
                    <a:pt x="3" y="531"/>
                  </a:lnTo>
                  <a:lnTo>
                    <a:pt x="0" y="526"/>
                  </a:lnTo>
                  <a:lnTo>
                    <a:pt x="0" y="521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3" y="6"/>
                  </a:lnTo>
                  <a:lnTo>
                    <a:pt x="6" y="3"/>
                  </a:lnTo>
                  <a:lnTo>
                    <a:pt x="12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86"/>
            <p:cNvSpPr>
              <a:spLocks/>
            </p:cNvSpPr>
            <p:nvPr/>
          </p:nvSpPr>
          <p:spPr bwMode="auto">
            <a:xfrm>
              <a:off x="8159750" y="3349625"/>
              <a:ext cx="433387" cy="436563"/>
            </a:xfrm>
            <a:custGeom>
              <a:avLst/>
              <a:gdLst>
                <a:gd name="T0" fmla="*/ 143 w 273"/>
                <a:gd name="T1" fmla="*/ 1 h 275"/>
                <a:gd name="T2" fmla="*/ 148 w 273"/>
                <a:gd name="T3" fmla="*/ 9 h 275"/>
                <a:gd name="T4" fmla="*/ 150 w 273"/>
                <a:gd name="T5" fmla="*/ 66 h 275"/>
                <a:gd name="T6" fmla="*/ 178 w 273"/>
                <a:gd name="T7" fmla="*/ 78 h 275"/>
                <a:gd name="T8" fmla="*/ 219 w 273"/>
                <a:gd name="T9" fmla="*/ 39 h 275"/>
                <a:gd name="T10" fmla="*/ 227 w 273"/>
                <a:gd name="T11" fmla="*/ 37 h 275"/>
                <a:gd name="T12" fmla="*/ 233 w 273"/>
                <a:gd name="T13" fmla="*/ 40 h 275"/>
                <a:gd name="T14" fmla="*/ 237 w 273"/>
                <a:gd name="T15" fmla="*/ 47 h 275"/>
                <a:gd name="T16" fmla="*/ 236 w 273"/>
                <a:gd name="T17" fmla="*/ 56 h 275"/>
                <a:gd name="T18" fmla="*/ 197 w 273"/>
                <a:gd name="T19" fmla="*/ 95 h 275"/>
                <a:gd name="T20" fmla="*/ 209 w 273"/>
                <a:gd name="T21" fmla="*/ 125 h 275"/>
                <a:gd name="T22" fmla="*/ 266 w 273"/>
                <a:gd name="T23" fmla="*/ 125 h 275"/>
                <a:gd name="T24" fmla="*/ 273 w 273"/>
                <a:gd name="T25" fmla="*/ 132 h 275"/>
                <a:gd name="T26" fmla="*/ 273 w 273"/>
                <a:gd name="T27" fmla="*/ 142 h 275"/>
                <a:gd name="T28" fmla="*/ 266 w 273"/>
                <a:gd name="T29" fmla="*/ 149 h 275"/>
                <a:gd name="T30" fmla="*/ 209 w 273"/>
                <a:gd name="T31" fmla="*/ 149 h 275"/>
                <a:gd name="T32" fmla="*/ 197 w 273"/>
                <a:gd name="T33" fmla="*/ 180 h 275"/>
                <a:gd name="T34" fmla="*/ 236 w 273"/>
                <a:gd name="T35" fmla="*/ 218 h 275"/>
                <a:gd name="T36" fmla="*/ 237 w 273"/>
                <a:gd name="T37" fmla="*/ 227 h 275"/>
                <a:gd name="T38" fmla="*/ 233 w 273"/>
                <a:gd name="T39" fmla="*/ 234 h 275"/>
                <a:gd name="T40" fmla="*/ 227 w 273"/>
                <a:gd name="T41" fmla="*/ 237 h 275"/>
                <a:gd name="T42" fmla="*/ 219 w 273"/>
                <a:gd name="T43" fmla="*/ 236 h 275"/>
                <a:gd name="T44" fmla="*/ 178 w 273"/>
                <a:gd name="T45" fmla="*/ 197 h 275"/>
                <a:gd name="T46" fmla="*/ 150 w 273"/>
                <a:gd name="T47" fmla="*/ 208 h 275"/>
                <a:gd name="T48" fmla="*/ 148 w 273"/>
                <a:gd name="T49" fmla="*/ 266 h 275"/>
                <a:gd name="T50" fmla="*/ 143 w 273"/>
                <a:gd name="T51" fmla="*/ 273 h 275"/>
                <a:gd name="T52" fmla="*/ 132 w 273"/>
                <a:gd name="T53" fmla="*/ 273 h 275"/>
                <a:gd name="T54" fmla="*/ 125 w 273"/>
                <a:gd name="T55" fmla="*/ 266 h 275"/>
                <a:gd name="T56" fmla="*/ 124 w 273"/>
                <a:gd name="T57" fmla="*/ 208 h 275"/>
                <a:gd name="T58" fmla="*/ 95 w 273"/>
                <a:gd name="T59" fmla="*/ 197 h 275"/>
                <a:gd name="T60" fmla="*/ 55 w 273"/>
                <a:gd name="T61" fmla="*/ 236 h 275"/>
                <a:gd name="T62" fmla="*/ 48 w 273"/>
                <a:gd name="T63" fmla="*/ 237 h 275"/>
                <a:gd name="T64" fmla="*/ 40 w 273"/>
                <a:gd name="T65" fmla="*/ 234 h 275"/>
                <a:gd name="T66" fmla="*/ 36 w 273"/>
                <a:gd name="T67" fmla="*/ 227 h 275"/>
                <a:gd name="T68" fmla="*/ 38 w 273"/>
                <a:gd name="T69" fmla="*/ 218 h 275"/>
                <a:gd name="T70" fmla="*/ 78 w 273"/>
                <a:gd name="T71" fmla="*/ 180 h 275"/>
                <a:gd name="T72" fmla="*/ 65 w 273"/>
                <a:gd name="T73" fmla="*/ 149 h 275"/>
                <a:gd name="T74" fmla="*/ 9 w 273"/>
                <a:gd name="T75" fmla="*/ 149 h 275"/>
                <a:gd name="T76" fmla="*/ 2 w 273"/>
                <a:gd name="T77" fmla="*/ 142 h 275"/>
                <a:gd name="T78" fmla="*/ 2 w 273"/>
                <a:gd name="T79" fmla="*/ 132 h 275"/>
                <a:gd name="T80" fmla="*/ 9 w 273"/>
                <a:gd name="T81" fmla="*/ 125 h 275"/>
                <a:gd name="T82" fmla="*/ 65 w 273"/>
                <a:gd name="T83" fmla="*/ 125 h 275"/>
                <a:gd name="T84" fmla="*/ 78 w 273"/>
                <a:gd name="T85" fmla="*/ 95 h 275"/>
                <a:gd name="T86" fmla="*/ 38 w 273"/>
                <a:gd name="T87" fmla="*/ 56 h 275"/>
                <a:gd name="T88" fmla="*/ 36 w 273"/>
                <a:gd name="T89" fmla="*/ 47 h 275"/>
                <a:gd name="T90" fmla="*/ 40 w 273"/>
                <a:gd name="T91" fmla="*/ 40 h 275"/>
                <a:gd name="T92" fmla="*/ 48 w 273"/>
                <a:gd name="T93" fmla="*/ 37 h 275"/>
                <a:gd name="T94" fmla="*/ 55 w 273"/>
                <a:gd name="T95" fmla="*/ 39 h 275"/>
                <a:gd name="T96" fmla="*/ 95 w 273"/>
                <a:gd name="T97" fmla="*/ 78 h 275"/>
                <a:gd name="T98" fmla="*/ 124 w 273"/>
                <a:gd name="T99" fmla="*/ 66 h 275"/>
                <a:gd name="T100" fmla="*/ 125 w 273"/>
                <a:gd name="T101" fmla="*/ 9 h 275"/>
                <a:gd name="T102" fmla="*/ 132 w 273"/>
                <a:gd name="T103" fmla="*/ 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3" h="275">
                  <a:moveTo>
                    <a:pt x="137" y="0"/>
                  </a:moveTo>
                  <a:lnTo>
                    <a:pt x="143" y="1"/>
                  </a:lnTo>
                  <a:lnTo>
                    <a:pt x="145" y="4"/>
                  </a:lnTo>
                  <a:lnTo>
                    <a:pt x="148" y="9"/>
                  </a:lnTo>
                  <a:lnTo>
                    <a:pt x="150" y="13"/>
                  </a:lnTo>
                  <a:lnTo>
                    <a:pt x="150" y="66"/>
                  </a:lnTo>
                  <a:lnTo>
                    <a:pt x="166" y="70"/>
                  </a:lnTo>
                  <a:lnTo>
                    <a:pt x="178" y="78"/>
                  </a:lnTo>
                  <a:lnTo>
                    <a:pt x="216" y="40"/>
                  </a:lnTo>
                  <a:lnTo>
                    <a:pt x="219" y="39"/>
                  </a:lnTo>
                  <a:lnTo>
                    <a:pt x="223" y="37"/>
                  </a:lnTo>
                  <a:lnTo>
                    <a:pt x="227" y="37"/>
                  </a:lnTo>
                  <a:lnTo>
                    <a:pt x="230" y="39"/>
                  </a:lnTo>
                  <a:lnTo>
                    <a:pt x="233" y="40"/>
                  </a:lnTo>
                  <a:lnTo>
                    <a:pt x="236" y="45"/>
                  </a:lnTo>
                  <a:lnTo>
                    <a:pt x="237" y="47"/>
                  </a:lnTo>
                  <a:lnTo>
                    <a:pt x="237" y="52"/>
                  </a:lnTo>
                  <a:lnTo>
                    <a:pt x="236" y="56"/>
                  </a:lnTo>
                  <a:lnTo>
                    <a:pt x="233" y="59"/>
                  </a:lnTo>
                  <a:lnTo>
                    <a:pt x="197" y="95"/>
                  </a:lnTo>
                  <a:lnTo>
                    <a:pt x="204" y="109"/>
                  </a:lnTo>
                  <a:lnTo>
                    <a:pt x="209" y="125"/>
                  </a:lnTo>
                  <a:lnTo>
                    <a:pt x="260" y="125"/>
                  </a:lnTo>
                  <a:lnTo>
                    <a:pt x="266" y="125"/>
                  </a:lnTo>
                  <a:lnTo>
                    <a:pt x="270" y="128"/>
                  </a:lnTo>
                  <a:lnTo>
                    <a:pt x="273" y="132"/>
                  </a:lnTo>
                  <a:lnTo>
                    <a:pt x="273" y="138"/>
                  </a:lnTo>
                  <a:lnTo>
                    <a:pt x="273" y="142"/>
                  </a:lnTo>
                  <a:lnTo>
                    <a:pt x="270" y="147"/>
                  </a:lnTo>
                  <a:lnTo>
                    <a:pt x="266" y="149"/>
                  </a:lnTo>
                  <a:lnTo>
                    <a:pt x="260" y="149"/>
                  </a:lnTo>
                  <a:lnTo>
                    <a:pt x="209" y="149"/>
                  </a:lnTo>
                  <a:lnTo>
                    <a:pt x="204" y="165"/>
                  </a:lnTo>
                  <a:lnTo>
                    <a:pt x="197" y="180"/>
                  </a:lnTo>
                  <a:lnTo>
                    <a:pt x="233" y="216"/>
                  </a:lnTo>
                  <a:lnTo>
                    <a:pt x="236" y="218"/>
                  </a:lnTo>
                  <a:lnTo>
                    <a:pt x="237" y="223"/>
                  </a:lnTo>
                  <a:lnTo>
                    <a:pt x="237" y="227"/>
                  </a:lnTo>
                  <a:lnTo>
                    <a:pt x="236" y="230"/>
                  </a:lnTo>
                  <a:lnTo>
                    <a:pt x="233" y="234"/>
                  </a:lnTo>
                  <a:lnTo>
                    <a:pt x="230" y="236"/>
                  </a:lnTo>
                  <a:lnTo>
                    <a:pt x="227" y="237"/>
                  </a:lnTo>
                  <a:lnTo>
                    <a:pt x="223" y="237"/>
                  </a:lnTo>
                  <a:lnTo>
                    <a:pt x="219" y="236"/>
                  </a:lnTo>
                  <a:lnTo>
                    <a:pt x="216" y="234"/>
                  </a:lnTo>
                  <a:lnTo>
                    <a:pt x="178" y="197"/>
                  </a:lnTo>
                  <a:lnTo>
                    <a:pt x="166" y="204"/>
                  </a:lnTo>
                  <a:lnTo>
                    <a:pt x="150" y="208"/>
                  </a:lnTo>
                  <a:lnTo>
                    <a:pt x="150" y="262"/>
                  </a:lnTo>
                  <a:lnTo>
                    <a:pt x="148" y="266"/>
                  </a:lnTo>
                  <a:lnTo>
                    <a:pt x="145" y="270"/>
                  </a:lnTo>
                  <a:lnTo>
                    <a:pt x="143" y="273"/>
                  </a:lnTo>
                  <a:lnTo>
                    <a:pt x="137" y="275"/>
                  </a:lnTo>
                  <a:lnTo>
                    <a:pt x="132" y="273"/>
                  </a:lnTo>
                  <a:lnTo>
                    <a:pt x="128" y="270"/>
                  </a:lnTo>
                  <a:lnTo>
                    <a:pt x="125" y="266"/>
                  </a:lnTo>
                  <a:lnTo>
                    <a:pt x="124" y="262"/>
                  </a:lnTo>
                  <a:lnTo>
                    <a:pt x="124" y="208"/>
                  </a:lnTo>
                  <a:lnTo>
                    <a:pt x="109" y="204"/>
                  </a:lnTo>
                  <a:lnTo>
                    <a:pt x="95" y="197"/>
                  </a:lnTo>
                  <a:lnTo>
                    <a:pt x="59" y="234"/>
                  </a:lnTo>
                  <a:lnTo>
                    <a:pt x="55" y="236"/>
                  </a:lnTo>
                  <a:lnTo>
                    <a:pt x="52" y="237"/>
                  </a:lnTo>
                  <a:lnTo>
                    <a:pt x="48" y="237"/>
                  </a:lnTo>
                  <a:lnTo>
                    <a:pt x="43" y="236"/>
                  </a:lnTo>
                  <a:lnTo>
                    <a:pt x="40" y="234"/>
                  </a:lnTo>
                  <a:lnTo>
                    <a:pt x="38" y="230"/>
                  </a:lnTo>
                  <a:lnTo>
                    <a:pt x="36" y="227"/>
                  </a:lnTo>
                  <a:lnTo>
                    <a:pt x="36" y="223"/>
                  </a:lnTo>
                  <a:lnTo>
                    <a:pt x="38" y="218"/>
                  </a:lnTo>
                  <a:lnTo>
                    <a:pt x="40" y="216"/>
                  </a:lnTo>
                  <a:lnTo>
                    <a:pt x="78" y="180"/>
                  </a:lnTo>
                  <a:lnTo>
                    <a:pt x="69" y="165"/>
                  </a:lnTo>
                  <a:lnTo>
                    <a:pt x="65" y="149"/>
                  </a:lnTo>
                  <a:lnTo>
                    <a:pt x="13" y="149"/>
                  </a:lnTo>
                  <a:lnTo>
                    <a:pt x="9" y="149"/>
                  </a:lnTo>
                  <a:lnTo>
                    <a:pt x="5" y="147"/>
                  </a:lnTo>
                  <a:lnTo>
                    <a:pt x="2" y="142"/>
                  </a:lnTo>
                  <a:lnTo>
                    <a:pt x="0" y="138"/>
                  </a:lnTo>
                  <a:lnTo>
                    <a:pt x="2" y="132"/>
                  </a:lnTo>
                  <a:lnTo>
                    <a:pt x="5" y="128"/>
                  </a:lnTo>
                  <a:lnTo>
                    <a:pt x="9" y="125"/>
                  </a:lnTo>
                  <a:lnTo>
                    <a:pt x="13" y="125"/>
                  </a:lnTo>
                  <a:lnTo>
                    <a:pt x="65" y="125"/>
                  </a:lnTo>
                  <a:lnTo>
                    <a:pt x="69" y="109"/>
                  </a:lnTo>
                  <a:lnTo>
                    <a:pt x="78" y="95"/>
                  </a:lnTo>
                  <a:lnTo>
                    <a:pt x="40" y="59"/>
                  </a:lnTo>
                  <a:lnTo>
                    <a:pt x="38" y="56"/>
                  </a:lnTo>
                  <a:lnTo>
                    <a:pt x="36" y="52"/>
                  </a:lnTo>
                  <a:lnTo>
                    <a:pt x="36" y="47"/>
                  </a:lnTo>
                  <a:lnTo>
                    <a:pt x="38" y="45"/>
                  </a:lnTo>
                  <a:lnTo>
                    <a:pt x="40" y="40"/>
                  </a:lnTo>
                  <a:lnTo>
                    <a:pt x="43" y="39"/>
                  </a:lnTo>
                  <a:lnTo>
                    <a:pt x="48" y="37"/>
                  </a:lnTo>
                  <a:lnTo>
                    <a:pt x="52" y="37"/>
                  </a:lnTo>
                  <a:lnTo>
                    <a:pt x="55" y="39"/>
                  </a:lnTo>
                  <a:lnTo>
                    <a:pt x="59" y="40"/>
                  </a:lnTo>
                  <a:lnTo>
                    <a:pt x="95" y="78"/>
                  </a:lnTo>
                  <a:lnTo>
                    <a:pt x="109" y="70"/>
                  </a:lnTo>
                  <a:lnTo>
                    <a:pt x="124" y="66"/>
                  </a:lnTo>
                  <a:lnTo>
                    <a:pt x="124" y="13"/>
                  </a:lnTo>
                  <a:lnTo>
                    <a:pt x="125" y="9"/>
                  </a:lnTo>
                  <a:lnTo>
                    <a:pt x="128" y="4"/>
                  </a:lnTo>
                  <a:lnTo>
                    <a:pt x="132" y="1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1" name="Group 290"/>
          <p:cNvGrpSpPr/>
          <p:nvPr/>
        </p:nvGrpSpPr>
        <p:grpSpPr>
          <a:xfrm>
            <a:off x="345409" y="3500735"/>
            <a:ext cx="2413681" cy="1213770"/>
            <a:chOff x="1125623" y="3504342"/>
            <a:chExt cx="2413681" cy="1213770"/>
          </a:xfrm>
        </p:grpSpPr>
        <p:sp>
          <p:nvSpPr>
            <p:cNvPr id="292" name="TextBox 291"/>
            <p:cNvSpPr txBox="1"/>
            <p:nvPr/>
          </p:nvSpPr>
          <p:spPr>
            <a:xfrm flipH="1">
              <a:off x="1125623" y="3887115"/>
              <a:ext cx="241368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i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itchFamily="34" charset="0"/>
                </a:rPr>
                <a:t>Basic data preparation including; </a:t>
              </a:r>
            </a:p>
            <a:p>
              <a:pPr algn="r"/>
              <a:r>
                <a:rPr lang="en-US" sz="1200" i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itchFamily="34" charset="0"/>
                </a:rPr>
                <a:t>1- Removing unnecessary variables;</a:t>
              </a:r>
            </a:p>
            <a:p>
              <a:pPr algn="r"/>
              <a:r>
                <a:rPr lang="en-US" sz="1200" i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itchFamily="34" charset="0"/>
                </a:rPr>
                <a:t>2- Missing Value treatment;</a:t>
              </a:r>
            </a:p>
            <a:p>
              <a:pPr algn="r"/>
              <a:r>
                <a:rPr lang="en-US" sz="1200" i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itchFamily="34" charset="0"/>
                </a:rPr>
                <a:t>3- Splitting data into train and test. </a:t>
              </a:r>
              <a:endParaRPr 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endParaRPr>
            </a:p>
          </p:txBody>
        </p:sp>
        <p:sp>
          <p:nvSpPr>
            <p:cNvPr id="293" name="TextBox 292"/>
            <p:cNvSpPr txBox="1"/>
            <p:nvPr/>
          </p:nvSpPr>
          <p:spPr>
            <a:xfrm>
              <a:off x="1542988" y="3504342"/>
              <a:ext cx="199631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anose="020B0604020202020204" pitchFamily="34" charset="0"/>
                </a:rPr>
                <a:t>Data Preparation</a:t>
              </a:r>
            </a:p>
          </p:txBody>
        </p:sp>
      </p:grpSp>
      <p:grpSp>
        <p:nvGrpSpPr>
          <p:cNvPr id="294" name="Group 293"/>
          <p:cNvGrpSpPr/>
          <p:nvPr/>
        </p:nvGrpSpPr>
        <p:grpSpPr>
          <a:xfrm>
            <a:off x="2156280" y="1869158"/>
            <a:ext cx="2413681" cy="1213770"/>
            <a:chOff x="1125623" y="3504342"/>
            <a:chExt cx="2413681" cy="1213770"/>
          </a:xfrm>
        </p:grpSpPr>
        <p:sp>
          <p:nvSpPr>
            <p:cNvPr id="295" name="TextBox 294"/>
            <p:cNvSpPr txBox="1"/>
            <p:nvPr/>
          </p:nvSpPr>
          <p:spPr>
            <a:xfrm flipH="1">
              <a:off x="1125623" y="3887115"/>
              <a:ext cx="241368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Two classification models were selected ; </a:t>
              </a:r>
            </a:p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1- CART; &amp;</a:t>
              </a:r>
            </a:p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2- Random Forest. </a:t>
              </a:r>
              <a:endParaRPr lang="en-US" sz="1200" i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96" name="TextBox 295"/>
            <p:cNvSpPr txBox="1"/>
            <p:nvPr/>
          </p:nvSpPr>
          <p:spPr>
            <a:xfrm>
              <a:off x="1397757" y="3504342"/>
              <a:ext cx="214154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anose="020B0604020202020204" pitchFamily="34" charset="0"/>
                </a:rPr>
                <a:t>Deploy two model</a:t>
              </a:r>
            </a:p>
          </p:txBody>
        </p:sp>
      </p:grpSp>
      <p:grpSp>
        <p:nvGrpSpPr>
          <p:cNvPr id="297" name="Group 296"/>
          <p:cNvGrpSpPr/>
          <p:nvPr/>
        </p:nvGrpSpPr>
        <p:grpSpPr>
          <a:xfrm>
            <a:off x="7670776" y="4577434"/>
            <a:ext cx="2832699" cy="1583102"/>
            <a:chOff x="1125623" y="3504342"/>
            <a:chExt cx="2832699" cy="1583102"/>
          </a:xfrm>
        </p:grpSpPr>
        <p:sp>
          <p:nvSpPr>
            <p:cNvPr id="298" name="TextBox 297"/>
            <p:cNvSpPr txBox="1"/>
            <p:nvPr/>
          </p:nvSpPr>
          <p:spPr>
            <a:xfrm flipH="1">
              <a:off x="1125623" y="3887115"/>
              <a:ext cx="241368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Number of model performance test were used;</a:t>
              </a:r>
            </a:p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1- Confusion Matrix; </a:t>
              </a:r>
            </a:p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2- ROC, AUC and Gini;</a:t>
              </a:r>
            </a:p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3- Rank order Tables Ks; &amp;</a:t>
              </a:r>
            </a:p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4- Concordance ratios. </a:t>
              </a:r>
              <a:endParaRPr lang="en-US" sz="1200" i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99" name="TextBox 298"/>
            <p:cNvSpPr txBox="1"/>
            <p:nvPr/>
          </p:nvSpPr>
          <p:spPr>
            <a:xfrm>
              <a:off x="1125623" y="3504342"/>
              <a:ext cx="28326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anose="020B0604020202020204" pitchFamily="34" charset="0"/>
                </a:rPr>
                <a:t>Test model performance </a:t>
              </a:r>
            </a:p>
          </p:txBody>
        </p:sp>
      </p:grpSp>
      <p:grpSp>
        <p:nvGrpSpPr>
          <p:cNvPr id="300" name="Group 299"/>
          <p:cNvGrpSpPr/>
          <p:nvPr/>
        </p:nvGrpSpPr>
        <p:grpSpPr>
          <a:xfrm>
            <a:off x="9445787" y="2820352"/>
            <a:ext cx="2413681" cy="1029104"/>
            <a:chOff x="1125623" y="3504342"/>
            <a:chExt cx="2413681" cy="1029104"/>
          </a:xfrm>
        </p:grpSpPr>
        <p:sp>
          <p:nvSpPr>
            <p:cNvPr id="301" name="TextBox 300"/>
            <p:cNvSpPr txBox="1"/>
            <p:nvPr/>
          </p:nvSpPr>
          <p:spPr>
            <a:xfrm flipH="1">
              <a:off x="1125623" y="3887115"/>
              <a:ext cx="241368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r"/>
              <a:r>
                <a:rPr lang="en-US" sz="1200" i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itchFamily="34" charset="0"/>
                </a:rPr>
                <a:t>Random Forest was selected as it preformed better than its adversary.</a:t>
              </a:r>
              <a:endParaRPr lang="en-US" sz="1200" i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02" name="TextBox 301"/>
            <p:cNvSpPr txBox="1"/>
            <p:nvPr/>
          </p:nvSpPr>
          <p:spPr>
            <a:xfrm>
              <a:off x="1125623" y="3504342"/>
              <a:ext cx="1758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anose="020B0604020202020204" pitchFamily="34" charset="0"/>
                </a:rPr>
                <a:t>Select a Mod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3465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FB7D4B4-1B5E-4414-9E08-62E42666B8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98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FB7D4B4-1B5E-4414-9E08-62E42666B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E20C852-B50C-4D43-84C8-158C820361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cation Model – Model Selection Criteria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E5557-EC0F-49D2-9F84-50E612D271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5147" y="1138425"/>
            <a:ext cx="6304762" cy="3600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EAFAF495-447D-43DC-8251-DC5E056E05DB}"/>
              </a:ext>
            </a:extLst>
          </p:cNvPr>
          <p:cNvSpPr/>
          <p:nvPr/>
        </p:nvSpPr>
        <p:spPr>
          <a:xfrm>
            <a:off x="7614427" y="1161346"/>
            <a:ext cx="3512215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Based on the number of model performance, Random forest has preformed better across all categories test. 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Consequently we recommend using RF for predications.</a:t>
            </a:r>
            <a:endParaRPr lang="en-US" sz="2000" dirty="0"/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000" dirty="0"/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000" dirty="0"/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386735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FB7D4B4-1B5E-4414-9E08-62E42666B8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031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FB7D4B4-1B5E-4414-9E08-62E42666B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E20C852-B50C-4D43-84C8-158C820361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andom Forest – Key take Awa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AFAF495-447D-43DC-8251-DC5E056E05DB}"/>
              </a:ext>
            </a:extLst>
          </p:cNvPr>
          <p:cNvSpPr/>
          <p:nvPr/>
        </p:nvSpPr>
        <p:spPr>
          <a:xfrm>
            <a:off x="6037148" y="2278394"/>
            <a:ext cx="570734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Based on the random forest outcome, we recommend that you target the 10</a:t>
            </a:r>
            <a:r>
              <a:rPr lang="en-US" sz="2000" b="1" baseline="30000" dirty="0"/>
              <a:t>th</a:t>
            </a:r>
            <a:r>
              <a:rPr lang="en-US" sz="2000" b="1" dirty="0"/>
              <a:t> and 11</a:t>
            </a:r>
            <a:r>
              <a:rPr lang="en-US" sz="2000" b="1" baseline="30000" dirty="0"/>
              <a:t>th</a:t>
            </a:r>
            <a:r>
              <a:rPr lang="en-US" sz="2000" b="1" dirty="0"/>
              <a:t> quantile of customers, as top ten of all probabilities of accepting our loan offer are located. 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If we do this will ensure successful conversion rate, nearly 100%. </a:t>
            </a:r>
          </a:p>
          <a:p>
            <a:pPr>
              <a:spcBef>
                <a:spcPct val="20000"/>
              </a:spcBef>
              <a:defRPr/>
            </a:pPr>
            <a:endParaRPr lang="en-US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69ACB4-9521-430B-85F2-95237908EE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9737" y="1170511"/>
            <a:ext cx="4238095" cy="26190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296CBB0-99DE-421F-BF7E-8EEB099493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0900" y="3905238"/>
            <a:ext cx="4238095" cy="26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273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16BD8B-3B49-441B-8398-8E1D6F180C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16BD8B-3B49-441B-8398-8E1D6F180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135FD9-A2B3-4AF4-BD2E-073CE410E0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749245"/>
            <a:ext cx="12188825" cy="3206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pendix: Classification Model…</a:t>
            </a: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8707940" y="2823483"/>
            <a:ext cx="959582" cy="1117784"/>
          </a:xfrm>
          <a:custGeom>
            <a:avLst/>
            <a:gdLst>
              <a:gd name="T0" fmla="*/ 229 w 370"/>
              <a:gd name="T1" fmla="*/ 1 h 431"/>
              <a:gd name="T2" fmla="*/ 282 w 370"/>
              <a:gd name="T3" fmla="*/ 15 h 431"/>
              <a:gd name="T4" fmla="*/ 321 w 370"/>
              <a:gd name="T5" fmla="*/ 44 h 431"/>
              <a:gd name="T6" fmla="*/ 345 w 370"/>
              <a:gd name="T7" fmla="*/ 84 h 431"/>
              <a:gd name="T8" fmla="*/ 260 w 370"/>
              <a:gd name="T9" fmla="*/ 120 h 431"/>
              <a:gd name="T10" fmla="*/ 246 w 370"/>
              <a:gd name="T11" fmla="*/ 87 h 431"/>
              <a:gd name="T12" fmla="*/ 217 w 370"/>
              <a:gd name="T13" fmla="*/ 67 h 431"/>
              <a:gd name="T14" fmla="*/ 177 w 370"/>
              <a:gd name="T15" fmla="*/ 66 h 431"/>
              <a:gd name="T16" fmla="*/ 150 w 370"/>
              <a:gd name="T17" fmla="*/ 79 h 431"/>
              <a:gd name="T18" fmla="*/ 134 w 370"/>
              <a:gd name="T19" fmla="*/ 102 h 431"/>
              <a:gd name="T20" fmla="*/ 132 w 370"/>
              <a:gd name="T21" fmla="*/ 130 h 431"/>
              <a:gd name="T22" fmla="*/ 148 w 370"/>
              <a:gd name="T23" fmla="*/ 183 h 431"/>
              <a:gd name="T24" fmla="*/ 253 w 370"/>
              <a:gd name="T25" fmla="*/ 247 h 431"/>
              <a:gd name="T26" fmla="*/ 165 w 370"/>
              <a:gd name="T27" fmla="*/ 260 h 431"/>
              <a:gd name="T28" fmla="*/ 154 w 370"/>
              <a:gd name="T29" fmla="*/ 301 h 431"/>
              <a:gd name="T30" fmla="*/ 131 w 370"/>
              <a:gd name="T31" fmla="*/ 332 h 431"/>
              <a:gd name="T32" fmla="*/ 134 w 370"/>
              <a:gd name="T33" fmla="*/ 344 h 431"/>
              <a:gd name="T34" fmla="*/ 171 w 370"/>
              <a:gd name="T35" fmla="*/ 343 h 431"/>
              <a:gd name="T36" fmla="*/ 190 w 370"/>
              <a:gd name="T37" fmla="*/ 346 h 431"/>
              <a:gd name="T38" fmla="*/ 233 w 370"/>
              <a:gd name="T39" fmla="*/ 355 h 431"/>
              <a:gd name="T40" fmla="*/ 265 w 370"/>
              <a:gd name="T41" fmla="*/ 359 h 431"/>
              <a:gd name="T42" fmla="*/ 306 w 370"/>
              <a:gd name="T43" fmla="*/ 352 h 431"/>
              <a:gd name="T44" fmla="*/ 370 w 370"/>
              <a:gd name="T45" fmla="*/ 411 h 431"/>
              <a:gd name="T46" fmla="*/ 325 w 370"/>
              <a:gd name="T47" fmla="*/ 424 h 431"/>
              <a:gd name="T48" fmla="*/ 276 w 370"/>
              <a:gd name="T49" fmla="*/ 429 h 431"/>
              <a:gd name="T50" fmla="*/ 227 w 370"/>
              <a:gd name="T51" fmla="*/ 425 h 431"/>
              <a:gd name="T52" fmla="*/ 164 w 370"/>
              <a:gd name="T53" fmla="*/ 411 h 431"/>
              <a:gd name="T54" fmla="*/ 121 w 370"/>
              <a:gd name="T55" fmla="*/ 406 h 431"/>
              <a:gd name="T56" fmla="*/ 65 w 370"/>
              <a:gd name="T57" fmla="*/ 416 h 431"/>
              <a:gd name="T58" fmla="*/ 0 w 370"/>
              <a:gd name="T59" fmla="*/ 362 h 431"/>
              <a:gd name="T60" fmla="*/ 42 w 370"/>
              <a:gd name="T61" fmla="*/ 330 h 431"/>
              <a:gd name="T62" fmla="*/ 68 w 370"/>
              <a:gd name="T63" fmla="*/ 287 h 431"/>
              <a:gd name="T64" fmla="*/ 72 w 370"/>
              <a:gd name="T65" fmla="*/ 255 h 431"/>
              <a:gd name="T66" fmla="*/ 0 w 370"/>
              <a:gd name="T67" fmla="*/ 247 h 431"/>
              <a:gd name="T68" fmla="*/ 53 w 370"/>
              <a:gd name="T69" fmla="*/ 183 h 431"/>
              <a:gd name="T70" fmla="*/ 39 w 370"/>
              <a:gd name="T71" fmla="*/ 116 h 431"/>
              <a:gd name="T72" fmla="*/ 59 w 370"/>
              <a:gd name="T73" fmla="*/ 57 h 431"/>
              <a:gd name="T74" fmla="*/ 94 w 370"/>
              <a:gd name="T75" fmla="*/ 25 h 431"/>
              <a:gd name="T76" fmla="*/ 155 w 370"/>
              <a:gd name="T77" fmla="*/ 4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70" h="431">
                <a:moveTo>
                  <a:pt x="197" y="0"/>
                </a:moveTo>
                <a:lnTo>
                  <a:pt x="229" y="1"/>
                </a:lnTo>
                <a:lnTo>
                  <a:pt x="256" y="7"/>
                </a:lnTo>
                <a:lnTo>
                  <a:pt x="282" y="15"/>
                </a:lnTo>
                <a:lnTo>
                  <a:pt x="303" y="28"/>
                </a:lnTo>
                <a:lnTo>
                  <a:pt x="321" y="44"/>
                </a:lnTo>
                <a:lnTo>
                  <a:pt x="335" y="63"/>
                </a:lnTo>
                <a:lnTo>
                  <a:pt x="345" y="84"/>
                </a:lnTo>
                <a:lnTo>
                  <a:pt x="351" y="109"/>
                </a:lnTo>
                <a:lnTo>
                  <a:pt x="260" y="120"/>
                </a:lnTo>
                <a:lnTo>
                  <a:pt x="255" y="102"/>
                </a:lnTo>
                <a:lnTo>
                  <a:pt x="246" y="87"/>
                </a:lnTo>
                <a:lnTo>
                  <a:pt x="236" y="77"/>
                </a:lnTo>
                <a:lnTo>
                  <a:pt x="217" y="67"/>
                </a:lnTo>
                <a:lnTo>
                  <a:pt x="194" y="63"/>
                </a:lnTo>
                <a:lnTo>
                  <a:pt x="177" y="66"/>
                </a:lnTo>
                <a:lnTo>
                  <a:pt x="163" y="70"/>
                </a:lnTo>
                <a:lnTo>
                  <a:pt x="150" y="79"/>
                </a:lnTo>
                <a:lnTo>
                  <a:pt x="140" y="90"/>
                </a:lnTo>
                <a:lnTo>
                  <a:pt x="134" y="102"/>
                </a:lnTo>
                <a:lnTo>
                  <a:pt x="131" y="117"/>
                </a:lnTo>
                <a:lnTo>
                  <a:pt x="132" y="130"/>
                </a:lnTo>
                <a:lnTo>
                  <a:pt x="137" y="148"/>
                </a:lnTo>
                <a:lnTo>
                  <a:pt x="148" y="183"/>
                </a:lnTo>
                <a:lnTo>
                  <a:pt x="253" y="183"/>
                </a:lnTo>
                <a:lnTo>
                  <a:pt x="253" y="247"/>
                </a:lnTo>
                <a:lnTo>
                  <a:pt x="164" y="247"/>
                </a:lnTo>
                <a:lnTo>
                  <a:pt x="165" y="260"/>
                </a:lnTo>
                <a:lnTo>
                  <a:pt x="163" y="281"/>
                </a:lnTo>
                <a:lnTo>
                  <a:pt x="154" y="301"/>
                </a:lnTo>
                <a:lnTo>
                  <a:pt x="145" y="314"/>
                </a:lnTo>
                <a:lnTo>
                  <a:pt x="131" y="332"/>
                </a:lnTo>
                <a:lnTo>
                  <a:pt x="114" y="350"/>
                </a:lnTo>
                <a:lnTo>
                  <a:pt x="134" y="344"/>
                </a:lnTo>
                <a:lnTo>
                  <a:pt x="160" y="343"/>
                </a:lnTo>
                <a:lnTo>
                  <a:pt x="171" y="343"/>
                </a:lnTo>
                <a:lnTo>
                  <a:pt x="181" y="344"/>
                </a:lnTo>
                <a:lnTo>
                  <a:pt x="190" y="346"/>
                </a:lnTo>
                <a:lnTo>
                  <a:pt x="209" y="349"/>
                </a:lnTo>
                <a:lnTo>
                  <a:pt x="233" y="355"/>
                </a:lnTo>
                <a:lnTo>
                  <a:pt x="252" y="357"/>
                </a:lnTo>
                <a:lnTo>
                  <a:pt x="265" y="359"/>
                </a:lnTo>
                <a:lnTo>
                  <a:pt x="283" y="356"/>
                </a:lnTo>
                <a:lnTo>
                  <a:pt x="306" y="352"/>
                </a:lnTo>
                <a:lnTo>
                  <a:pt x="334" y="342"/>
                </a:lnTo>
                <a:lnTo>
                  <a:pt x="370" y="411"/>
                </a:lnTo>
                <a:lnTo>
                  <a:pt x="349" y="418"/>
                </a:lnTo>
                <a:lnTo>
                  <a:pt x="325" y="424"/>
                </a:lnTo>
                <a:lnTo>
                  <a:pt x="301" y="428"/>
                </a:lnTo>
                <a:lnTo>
                  <a:pt x="276" y="429"/>
                </a:lnTo>
                <a:lnTo>
                  <a:pt x="255" y="428"/>
                </a:lnTo>
                <a:lnTo>
                  <a:pt x="227" y="425"/>
                </a:lnTo>
                <a:lnTo>
                  <a:pt x="196" y="418"/>
                </a:lnTo>
                <a:lnTo>
                  <a:pt x="164" y="411"/>
                </a:lnTo>
                <a:lnTo>
                  <a:pt x="140" y="406"/>
                </a:lnTo>
                <a:lnTo>
                  <a:pt x="121" y="406"/>
                </a:lnTo>
                <a:lnTo>
                  <a:pt x="92" y="408"/>
                </a:lnTo>
                <a:lnTo>
                  <a:pt x="65" y="416"/>
                </a:lnTo>
                <a:lnTo>
                  <a:pt x="36" y="431"/>
                </a:lnTo>
                <a:lnTo>
                  <a:pt x="0" y="362"/>
                </a:lnTo>
                <a:lnTo>
                  <a:pt x="23" y="346"/>
                </a:lnTo>
                <a:lnTo>
                  <a:pt x="42" y="330"/>
                </a:lnTo>
                <a:lnTo>
                  <a:pt x="55" y="313"/>
                </a:lnTo>
                <a:lnTo>
                  <a:pt x="68" y="287"/>
                </a:lnTo>
                <a:lnTo>
                  <a:pt x="72" y="263"/>
                </a:lnTo>
                <a:lnTo>
                  <a:pt x="72" y="255"/>
                </a:lnTo>
                <a:lnTo>
                  <a:pt x="71" y="247"/>
                </a:lnTo>
                <a:lnTo>
                  <a:pt x="0" y="247"/>
                </a:lnTo>
                <a:lnTo>
                  <a:pt x="0" y="183"/>
                </a:lnTo>
                <a:lnTo>
                  <a:pt x="53" y="183"/>
                </a:lnTo>
                <a:lnTo>
                  <a:pt x="43" y="150"/>
                </a:lnTo>
                <a:lnTo>
                  <a:pt x="39" y="116"/>
                </a:lnTo>
                <a:lnTo>
                  <a:pt x="45" y="86"/>
                </a:lnTo>
                <a:lnTo>
                  <a:pt x="59" y="57"/>
                </a:lnTo>
                <a:lnTo>
                  <a:pt x="75" y="40"/>
                </a:lnTo>
                <a:lnTo>
                  <a:pt x="94" y="25"/>
                </a:lnTo>
                <a:lnTo>
                  <a:pt x="117" y="14"/>
                </a:lnTo>
                <a:lnTo>
                  <a:pt x="155" y="4"/>
                </a:lnTo>
                <a:lnTo>
                  <a:pt x="19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6592995" y="2841637"/>
            <a:ext cx="993296" cy="1081476"/>
          </a:xfrm>
          <a:custGeom>
            <a:avLst/>
            <a:gdLst>
              <a:gd name="T0" fmla="*/ 0 w 383"/>
              <a:gd name="T1" fmla="*/ 0 h 417"/>
              <a:gd name="T2" fmla="*/ 105 w 383"/>
              <a:gd name="T3" fmla="*/ 0 h 417"/>
              <a:gd name="T4" fmla="*/ 173 w 383"/>
              <a:gd name="T5" fmla="*/ 120 h 417"/>
              <a:gd name="T6" fmla="*/ 184 w 383"/>
              <a:gd name="T7" fmla="*/ 142 h 417"/>
              <a:gd name="T8" fmla="*/ 191 w 383"/>
              <a:gd name="T9" fmla="*/ 161 h 417"/>
              <a:gd name="T10" fmla="*/ 199 w 383"/>
              <a:gd name="T11" fmla="*/ 142 h 417"/>
              <a:gd name="T12" fmla="*/ 209 w 383"/>
              <a:gd name="T13" fmla="*/ 120 h 417"/>
              <a:gd name="T14" fmla="*/ 278 w 383"/>
              <a:gd name="T15" fmla="*/ 0 h 417"/>
              <a:gd name="T16" fmla="*/ 383 w 383"/>
              <a:gd name="T17" fmla="*/ 0 h 417"/>
              <a:gd name="T18" fmla="*/ 276 w 383"/>
              <a:gd name="T19" fmla="*/ 179 h 417"/>
              <a:gd name="T20" fmla="*/ 365 w 383"/>
              <a:gd name="T21" fmla="*/ 179 h 417"/>
              <a:gd name="T22" fmla="*/ 365 w 383"/>
              <a:gd name="T23" fmla="*/ 241 h 417"/>
              <a:gd name="T24" fmla="*/ 237 w 383"/>
              <a:gd name="T25" fmla="*/ 241 h 417"/>
              <a:gd name="T26" fmla="*/ 237 w 383"/>
              <a:gd name="T27" fmla="*/ 276 h 417"/>
              <a:gd name="T28" fmla="*/ 365 w 383"/>
              <a:gd name="T29" fmla="*/ 276 h 417"/>
              <a:gd name="T30" fmla="*/ 365 w 383"/>
              <a:gd name="T31" fmla="*/ 339 h 417"/>
              <a:gd name="T32" fmla="*/ 237 w 383"/>
              <a:gd name="T33" fmla="*/ 339 h 417"/>
              <a:gd name="T34" fmla="*/ 237 w 383"/>
              <a:gd name="T35" fmla="*/ 417 h 417"/>
              <a:gd name="T36" fmla="*/ 143 w 383"/>
              <a:gd name="T37" fmla="*/ 417 h 417"/>
              <a:gd name="T38" fmla="*/ 143 w 383"/>
              <a:gd name="T39" fmla="*/ 339 h 417"/>
              <a:gd name="T40" fmla="*/ 17 w 383"/>
              <a:gd name="T41" fmla="*/ 339 h 417"/>
              <a:gd name="T42" fmla="*/ 17 w 383"/>
              <a:gd name="T43" fmla="*/ 276 h 417"/>
              <a:gd name="T44" fmla="*/ 143 w 383"/>
              <a:gd name="T45" fmla="*/ 276 h 417"/>
              <a:gd name="T46" fmla="*/ 143 w 383"/>
              <a:gd name="T47" fmla="*/ 241 h 417"/>
              <a:gd name="T48" fmla="*/ 17 w 383"/>
              <a:gd name="T49" fmla="*/ 241 h 417"/>
              <a:gd name="T50" fmla="*/ 17 w 383"/>
              <a:gd name="T51" fmla="*/ 179 h 417"/>
              <a:gd name="T52" fmla="*/ 107 w 383"/>
              <a:gd name="T53" fmla="*/ 179 h 417"/>
              <a:gd name="T54" fmla="*/ 0 w 383"/>
              <a:gd name="T5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83" h="417">
                <a:moveTo>
                  <a:pt x="0" y="0"/>
                </a:moveTo>
                <a:lnTo>
                  <a:pt x="105" y="0"/>
                </a:lnTo>
                <a:lnTo>
                  <a:pt x="173" y="120"/>
                </a:lnTo>
                <a:lnTo>
                  <a:pt x="184" y="142"/>
                </a:lnTo>
                <a:lnTo>
                  <a:pt x="191" y="161"/>
                </a:lnTo>
                <a:lnTo>
                  <a:pt x="199" y="142"/>
                </a:lnTo>
                <a:lnTo>
                  <a:pt x="209" y="120"/>
                </a:lnTo>
                <a:lnTo>
                  <a:pt x="278" y="0"/>
                </a:lnTo>
                <a:lnTo>
                  <a:pt x="383" y="0"/>
                </a:lnTo>
                <a:lnTo>
                  <a:pt x="276" y="179"/>
                </a:lnTo>
                <a:lnTo>
                  <a:pt x="365" y="179"/>
                </a:lnTo>
                <a:lnTo>
                  <a:pt x="365" y="241"/>
                </a:lnTo>
                <a:lnTo>
                  <a:pt x="237" y="241"/>
                </a:lnTo>
                <a:lnTo>
                  <a:pt x="237" y="276"/>
                </a:lnTo>
                <a:lnTo>
                  <a:pt x="365" y="276"/>
                </a:lnTo>
                <a:lnTo>
                  <a:pt x="365" y="339"/>
                </a:lnTo>
                <a:lnTo>
                  <a:pt x="237" y="339"/>
                </a:lnTo>
                <a:lnTo>
                  <a:pt x="237" y="417"/>
                </a:lnTo>
                <a:lnTo>
                  <a:pt x="143" y="417"/>
                </a:lnTo>
                <a:lnTo>
                  <a:pt x="143" y="339"/>
                </a:lnTo>
                <a:lnTo>
                  <a:pt x="17" y="339"/>
                </a:lnTo>
                <a:lnTo>
                  <a:pt x="17" y="276"/>
                </a:lnTo>
                <a:lnTo>
                  <a:pt x="143" y="276"/>
                </a:lnTo>
                <a:lnTo>
                  <a:pt x="143" y="241"/>
                </a:lnTo>
                <a:lnTo>
                  <a:pt x="17" y="241"/>
                </a:lnTo>
                <a:lnTo>
                  <a:pt x="17" y="179"/>
                </a:lnTo>
                <a:lnTo>
                  <a:pt x="107" y="17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66"/>
          <p:cNvSpPr>
            <a:spLocks noEditPoints="1"/>
          </p:cNvSpPr>
          <p:nvPr/>
        </p:nvSpPr>
        <p:spPr bwMode="auto">
          <a:xfrm>
            <a:off x="4612909" y="2724930"/>
            <a:ext cx="858436" cy="1314890"/>
          </a:xfrm>
          <a:custGeom>
            <a:avLst/>
            <a:gdLst>
              <a:gd name="T0" fmla="*/ 191 w 331"/>
              <a:gd name="T1" fmla="*/ 392 h 507"/>
              <a:gd name="T2" fmla="*/ 233 w 331"/>
              <a:gd name="T3" fmla="*/ 372 h 507"/>
              <a:gd name="T4" fmla="*/ 249 w 331"/>
              <a:gd name="T5" fmla="*/ 335 h 507"/>
              <a:gd name="T6" fmla="*/ 236 w 331"/>
              <a:gd name="T7" fmla="*/ 301 h 507"/>
              <a:gd name="T8" fmla="*/ 210 w 331"/>
              <a:gd name="T9" fmla="*/ 287 h 507"/>
              <a:gd name="T10" fmla="*/ 142 w 331"/>
              <a:gd name="T11" fmla="*/ 89 h 507"/>
              <a:gd name="T12" fmla="*/ 111 w 331"/>
              <a:gd name="T13" fmla="*/ 109 h 507"/>
              <a:gd name="T14" fmla="*/ 99 w 331"/>
              <a:gd name="T15" fmla="*/ 139 h 507"/>
              <a:gd name="T16" fmla="*/ 109 w 331"/>
              <a:gd name="T17" fmla="*/ 166 h 507"/>
              <a:gd name="T18" fmla="*/ 142 w 331"/>
              <a:gd name="T19" fmla="*/ 188 h 507"/>
              <a:gd name="T20" fmla="*/ 142 w 331"/>
              <a:gd name="T21" fmla="*/ 0 h 507"/>
              <a:gd name="T22" fmla="*/ 191 w 331"/>
              <a:gd name="T23" fmla="*/ 27 h 507"/>
              <a:gd name="T24" fmla="*/ 253 w 331"/>
              <a:gd name="T25" fmla="*/ 43 h 507"/>
              <a:gd name="T26" fmla="*/ 296 w 331"/>
              <a:gd name="T27" fmla="*/ 77 h 507"/>
              <a:gd name="T28" fmla="*/ 318 w 331"/>
              <a:gd name="T29" fmla="*/ 126 h 507"/>
              <a:gd name="T30" fmla="*/ 224 w 331"/>
              <a:gd name="T31" fmla="*/ 116 h 507"/>
              <a:gd name="T32" fmla="*/ 191 w 331"/>
              <a:gd name="T33" fmla="*/ 90 h 507"/>
              <a:gd name="T34" fmla="*/ 228 w 331"/>
              <a:gd name="T35" fmla="*/ 211 h 507"/>
              <a:gd name="T36" fmla="*/ 283 w 331"/>
              <a:gd name="T37" fmla="*/ 235 h 507"/>
              <a:gd name="T38" fmla="*/ 318 w 331"/>
              <a:gd name="T39" fmla="*/ 270 h 507"/>
              <a:gd name="T40" fmla="*/ 331 w 331"/>
              <a:gd name="T41" fmla="*/ 324 h 507"/>
              <a:gd name="T42" fmla="*/ 322 w 331"/>
              <a:gd name="T43" fmla="*/ 372 h 507"/>
              <a:gd name="T44" fmla="*/ 295 w 331"/>
              <a:gd name="T45" fmla="*/ 411 h 507"/>
              <a:gd name="T46" fmla="*/ 250 w 331"/>
              <a:gd name="T47" fmla="*/ 439 h 507"/>
              <a:gd name="T48" fmla="*/ 191 w 331"/>
              <a:gd name="T49" fmla="*/ 454 h 507"/>
              <a:gd name="T50" fmla="*/ 142 w 331"/>
              <a:gd name="T51" fmla="*/ 507 h 507"/>
              <a:gd name="T52" fmla="*/ 106 w 331"/>
              <a:gd name="T53" fmla="*/ 450 h 507"/>
              <a:gd name="T54" fmla="*/ 47 w 331"/>
              <a:gd name="T55" fmla="*/ 419 h 507"/>
              <a:gd name="T56" fmla="*/ 10 w 331"/>
              <a:gd name="T57" fmla="*/ 368 h 507"/>
              <a:gd name="T58" fmla="*/ 89 w 331"/>
              <a:gd name="T59" fmla="*/ 324 h 507"/>
              <a:gd name="T60" fmla="*/ 109 w 331"/>
              <a:gd name="T61" fmla="*/ 363 h 507"/>
              <a:gd name="T62" fmla="*/ 142 w 331"/>
              <a:gd name="T63" fmla="*/ 388 h 507"/>
              <a:gd name="T64" fmla="*/ 102 w 331"/>
              <a:gd name="T65" fmla="*/ 255 h 507"/>
              <a:gd name="T66" fmla="*/ 45 w 331"/>
              <a:gd name="T67" fmla="*/ 221 h 507"/>
              <a:gd name="T68" fmla="*/ 17 w 331"/>
              <a:gd name="T69" fmla="*/ 171 h 507"/>
              <a:gd name="T70" fmla="*/ 19 w 331"/>
              <a:gd name="T71" fmla="*/ 113 h 507"/>
              <a:gd name="T72" fmla="*/ 49 w 331"/>
              <a:gd name="T73" fmla="*/ 64 h 507"/>
              <a:gd name="T74" fmla="*/ 106 w 331"/>
              <a:gd name="T75" fmla="*/ 34 h 507"/>
              <a:gd name="T76" fmla="*/ 142 w 331"/>
              <a:gd name="T77" fmla="*/ 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1" h="507">
                <a:moveTo>
                  <a:pt x="191" y="281"/>
                </a:moveTo>
                <a:lnTo>
                  <a:pt x="191" y="392"/>
                </a:lnTo>
                <a:lnTo>
                  <a:pt x="214" y="385"/>
                </a:lnTo>
                <a:lnTo>
                  <a:pt x="233" y="372"/>
                </a:lnTo>
                <a:lnTo>
                  <a:pt x="244" y="355"/>
                </a:lnTo>
                <a:lnTo>
                  <a:pt x="249" y="335"/>
                </a:lnTo>
                <a:lnTo>
                  <a:pt x="246" y="317"/>
                </a:lnTo>
                <a:lnTo>
                  <a:pt x="236" y="301"/>
                </a:lnTo>
                <a:lnTo>
                  <a:pt x="224" y="293"/>
                </a:lnTo>
                <a:lnTo>
                  <a:pt x="210" y="287"/>
                </a:lnTo>
                <a:lnTo>
                  <a:pt x="191" y="281"/>
                </a:lnTo>
                <a:close/>
                <a:moveTo>
                  <a:pt x="142" y="89"/>
                </a:moveTo>
                <a:lnTo>
                  <a:pt x="125" y="97"/>
                </a:lnTo>
                <a:lnTo>
                  <a:pt x="111" y="109"/>
                </a:lnTo>
                <a:lnTo>
                  <a:pt x="102" y="123"/>
                </a:lnTo>
                <a:lnTo>
                  <a:pt x="99" y="139"/>
                </a:lnTo>
                <a:lnTo>
                  <a:pt x="102" y="153"/>
                </a:lnTo>
                <a:lnTo>
                  <a:pt x="109" y="166"/>
                </a:lnTo>
                <a:lnTo>
                  <a:pt x="124" y="178"/>
                </a:lnTo>
                <a:lnTo>
                  <a:pt x="142" y="188"/>
                </a:lnTo>
                <a:lnTo>
                  <a:pt x="142" y="89"/>
                </a:lnTo>
                <a:close/>
                <a:moveTo>
                  <a:pt x="142" y="0"/>
                </a:moveTo>
                <a:lnTo>
                  <a:pt x="191" y="0"/>
                </a:lnTo>
                <a:lnTo>
                  <a:pt x="191" y="27"/>
                </a:lnTo>
                <a:lnTo>
                  <a:pt x="224" y="33"/>
                </a:lnTo>
                <a:lnTo>
                  <a:pt x="253" y="43"/>
                </a:lnTo>
                <a:lnTo>
                  <a:pt x="277" y="59"/>
                </a:lnTo>
                <a:lnTo>
                  <a:pt x="296" y="77"/>
                </a:lnTo>
                <a:lnTo>
                  <a:pt x="309" y="100"/>
                </a:lnTo>
                <a:lnTo>
                  <a:pt x="318" y="126"/>
                </a:lnTo>
                <a:lnTo>
                  <a:pt x="231" y="136"/>
                </a:lnTo>
                <a:lnTo>
                  <a:pt x="224" y="116"/>
                </a:lnTo>
                <a:lnTo>
                  <a:pt x="210" y="100"/>
                </a:lnTo>
                <a:lnTo>
                  <a:pt x="191" y="90"/>
                </a:lnTo>
                <a:lnTo>
                  <a:pt x="191" y="201"/>
                </a:lnTo>
                <a:lnTo>
                  <a:pt x="228" y="211"/>
                </a:lnTo>
                <a:lnTo>
                  <a:pt x="260" y="222"/>
                </a:lnTo>
                <a:lnTo>
                  <a:pt x="283" y="235"/>
                </a:lnTo>
                <a:lnTo>
                  <a:pt x="302" y="250"/>
                </a:lnTo>
                <a:lnTo>
                  <a:pt x="318" y="270"/>
                </a:lnTo>
                <a:lnTo>
                  <a:pt x="328" y="296"/>
                </a:lnTo>
                <a:lnTo>
                  <a:pt x="331" y="324"/>
                </a:lnTo>
                <a:lnTo>
                  <a:pt x="329" y="349"/>
                </a:lnTo>
                <a:lnTo>
                  <a:pt x="322" y="372"/>
                </a:lnTo>
                <a:lnTo>
                  <a:pt x="310" y="392"/>
                </a:lnTo>
                <a:lnTo>
                  <a:pt x="295" y="411"/>
                </a:lnTo>
                <a:lnTo>
                  <a:pt x="274" y="427"/>
                </a:lnTo>
                <a:lnTo>
                  <a:pt x="250" y="439"/>
                </a:lnTo>
                <a:lnTo>
                  <a:pt x="223" y="448"/>
                </a:lnTo>
                <a:lnTo>
                  <a:pt x="191" y="454"/>
                </a:lnTo>
                <a:lnTo>
                  <a:pt x="191" y="507"/>
                </a:lnTo>
                <a:lnTo>
                  <a:pt x="142" y="507"/>
                </a:lnTo>
                <a:lnTo>
                  <a:pt x="142" y="455"/>
                </a:lnTo>
                <a:lnTo>
                  <a:pt x="106" y="450"/>
                </a:lnTo>
                <a:lnTo>
                  <a:pt x="75" y="437"/>
                </a:lnTo>
                <a:lnTo>
                  <a:pt x="47" y="419"/>
                </a:lnTo>
                <a:lnTo>
                  <a:pt x="26" y="396"/>
                </a:lnTo>
                <a:lnTo>
                  <a:pt x="10" y="368"/>
                </a:lnTo>
                <a:lnTo>
                  <a:pt x="0" y="333"/>
                </a:lnTo>
                <a:lnTo>
                  <a:pt x="89" y="324"/>
                </a:lnTo>
                <a:lnTo>
                  <a:pt x="96" y="346"/>
                </a:lnTo>
                <a:lnTo>
                  <a:pt x="109" y="363"/>
                </a:lnTo>
                <a:lnTo>
                  <a:pt x="125" y="378"/>
                </a:lnTo>
                <a:lnTo>
                  <a:pt x="142" y="388"/>
                </a:lnTo>
                <a:lnTo>
                  <a:pt x="142" y="268"/>
                </a:lnTo>
                <a:lnTo>
                  <a:pt x="102" y="255"/>
                </a:lnTo>
                <a:lnTo>
                  <a:pt x="69" y="240"/>
                </a:lnTo>
                <a:lnTo>
                  <a:pt x="45" y="221"/>
                </a:lnTo>
                <a:lnTo>
                  <a:pt x="27" y="198"/>
                </a:lnTo>
                <a:lnTo>
                  <a:pt x="17" y="171"/>
                </a:lnTo>
                <a:lnTo>
                  <a:pt x="14" y="142"/>
                </a:lnTo>
                <a:lnTo>
                  <a:pt x="19" y="113"/>
                </a:lnTo>
                <a:lnTo>
                  <a:pt x="30" y="87"/>
                </a:lnTo>
                <a:lnTo>
                  <a:pt x="49" y="64"/>
                </a:lnTo>
                <a:lnTo>
                  <a:pt x="75" y="46"/>
                </a:lnTo>
                <a:lnTo>
                  <a:pt x="106" y="34"/>
                </a:lnTo>
                <a:lnTo>
                  <a:pt x="142" y="27"/>
                </a:lnTo>
                <a:lnTo>
                  <a:pt x="14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2521303" y="2823483"/>
            <a:ext cx="969956" cy="1117784"/>
          </a:xfrm>
          <a:custGeom>
            <a:avLst/>
            <a:gdLst>
              <a:gd name="T0" fmla="*/ 275 w 374"/>
              <a:gd name="T1" fmla="*/ 0 h 431"/>
              <a:gd name="T2" fmla="*/ 311 w 374"/>
              <a:gd name="T3" fmla="*/ 1 h 431"/>
              <a:gd name="T4" fmla="*/ 344 w 374"/>
              <a:gd name="T5" fmla="*/ 7 h 431"/>
              <a:gd name="T6" fmla="*/ 374 w 374"/>
              <a:gd name="T7" fmla="*/ 17 h 431"/>
              <a:gd name="T8" fmla="*/ 354 w 374"/>
              <a:gd name="T9" fmla="*/ 96 h 431"/>
              <a:gd name="T10" fmla="*/ 332 w 374"/>
              <a:gd name="T11" fmla="*/ 83 h 431"/>
              <a:gd name="T12" fmla="*/ 303 w 374"/>
              <a:gd name="T13" fmla="*/ 74 h 431"/>
              <a:gd name="T14" fmla="*/ 270 w 374"/>
              <a:gd name="T15" fmla="*/ 71 h 431"/>
              <a:gd name="T16" fmla="*/ 243 w 374"/>
              <a:gd name="T17" fmla="*/ 74 h 431"/>
              <a:gd name="T18" fmla="*/ 220 w 374"/>
              <a:gd name="T19" fmla="*/ 80 h 431"/>
              <a:gd name="T20" fmla="*/ 198 w 374"/>
              <a:gd name="T21" fmla="*/ 90 h 431"/>
              <a:gd name="T22" fmla="*/ 181 w 374"/>
              <a:gd name="T23" fmla="*/ 104 h 431"/>
              <a:gd name="T24" fmla="*/ 164 w 374"/>
              <a:gd name="T25" fmla="*/ 126 h 431"/>
              <a:gd name="T26" fmla="*/ 154 w 374"/>
              <a:gd name="T27" fmla="*/ 152 h 431"/>
              <a:gd name="T28" fmla="*/ 339 w 374"/>
              <a:gd name="T29" fmla="*/ 152 h 431"/>
              <a:gd name="T30" fmla="*/ 328 w 374"/>
              <a:gd name="T31" fmla="*/ 195 h 431"/>
              <a:gd name="T32" fmla="*/ 147 w 374"/>
              <a:gd name="T33" fmla="*/ 195 h 431"/>
              <a:gd name="T34" fmla="*/ 147 w 374"/>
              <a:gd name="T35" fmla="*/ 204 h 431"/>
              <a:gd name="T36" fmla="*/ 147 w 374"/>
              <a:gd name="T37" fmla="*/ 212 h 431"/>
              <a:gd name="T38" fmla="*/ 147 w 374"/>
              <a:gd name="T39" fmla="*/ 222 h 431"/>
              <a:gd name="T40" fmla="*/ 147 w 374"/>
              <a:gd name="T41" fmla="*/ 234 h 431"/>
              <a:gd name="T42" fmla="*/ 319 w 374"/>
              <a:gd name="T43" fmla="*/ 234 h 431"/>
              <a:gd name="T44" fmla="*/ 308 w 374"/>
              <a:gd name="T45" fmla="*/ 277 h 431"/>
              <a:gd name="T46" fmla="*/ 154 w 374"/>
              <a:gd name="T47" fmla="*/ 277 h 431"/>
              <a:gd name="T48" fmla="*/ 164 w 374"/>
              <a:gd name="T49" fmla="*/ 304 h 431"/>
              <a:gd name="T50" fmla="*/ 180 w 374"/>
              <a:gd name="T51" fmla="*/ 324 h 431"/>
              <a:gd name="T52" fmla="*/ 198 w 374"/>
              <a:gd name="T53" fmla="*/ 340 h 431"/>
              <a:gd name="T54" fmla="*/ 219 w 374"/>
              <a:gd name="T55" fmla="*/ 350 h 431"/>
              <a:gd name="T56" fmla="*/ 242 w 374"/>
              <a:gd name="T57" fmla="*/ 356 h 431"/>
              <a:gd name="T58" fmla="*/ 267 w 374"/>
              <a:gd name="T59" fmla="*/ 359 h 431"/>
              <a:gd name="T60" fmla="*/ 299 w 374"/>
              <a:gd name="T61" fmla="*/ 356 h 431"/>
              <a:gd name="T62" fmla="*/ 326 w 374"/>
              <a:gd name="T63" fmla="*/ 350 h 431"/>
              <a:gd name="T64" fmla="*/ 351 w 374"/>
              <a:gd name="T65" fmla="*/ 340 h 431"/>
              <a:gd name="T66" fmla="*/ 371 w 374"/>
              <a:gd name="T67" fmla="*/ 324 h 431"/>
              <a:gd name="T68" fmla="*/ 371 w 374"/>
              <a:gd name="T69" fmla="*/ 412 h 431"/>
              <a:gd name="T70" fmla="*/ 341 w 374"/>
              <a:gd name="T71" fmla="*/ 422 h 431"/>
              <a:gd name="T72" fmla="*/ 306 w 374"/>
              <a:gd name="T73" fmla="*/ 428 h 431"/>
              <a:gd name="T74" fmla="*/ 269 w 374"/>
              <a:gd name="T75" fmla="*/ 431 h 431"/>
              <a:gd name="T76" fmla="*/ 230 w 374"/>
              <a:gd name="T77" fmla="*/ 428 h 431"/>
              <a:gd name="T78" fmla="*/ 196 w 374"/>
              <a:gd name="T79" fmla="*/ 421 h 431"/>
              <a:gd name="T80" fmla="*/ 162 w 374"/>
              <a:gd name="T81" fmla="*/ 411 h 431"/>
              <a:gd name="T82" fmla="*/ 134 w 374"/>
              <a:gd name="T83" fmla="*/ 393 h 431"/>
              <a:gd name="T84" fmla="*/ 106 w 374"/>
              <a:gd name="T85" fmla="*/ 373 h 431"/>
              <a:gd name="T86" fmla="*/ 81 w 374"/>
              <a:gd name="T87" fmla="*/ 346 h 431"/>
              <a:gd name="T88" fmla="*/ 62 w 374"/>
              <a:gd name="T89" fmla="*/ 313 h 431"/>
              <a:gd name="T90" fmla="*/ 49 w 374"/>
              <a:gd name="T91" fmla="*/ 277 h 431"/>
              <a:gd name="T92" fmla="*/ 0 w 374"/>
              <a:gd name="T93" fmla="*/ 277 h 431"/>
              <a:gd name="T94" fmla="*/ 10 w 374"/>
              <a:gd name="T95" fmla="*/ 234 h 431"/>
              <a:gd name="T96" fmla="*/ 43 w 374"/>
              <a:gd name="T97" fmla="*/ 234 h 431"/>
              <a:gd name="T98" fmla="*/ 43 w 374"/>
              <a:gd name="T99" fmla="*/ 218 h 431"/>
              <a:gd name="T100" fmla="*/ 43 w 374"/>
              <a:gd name="T101" fmla="*/ 195 h 431"/>
              <a:gd name="T102" fmla="*/ 0 w 374"/>
              <a:gd name="T103" fmla="*/ 195 h 431"/>
              <a:gd name="T104" fmla="*/ 10 w 374"/>
              <a:gd name="T105" fmla="*/ 152 h 431"/>
              <a:gd name="T106" fmla="*/ 50 w 374"/>
              <a:gd name="T107" fmla="*/ 152 h 431"/>
              <a:gd name="T108" fmla="*/ 63 w 374"/>
              <a:gd name="T109" fmla="*/ 116 h 431"/>
              <a:gd name="T110" fmla="*/ 82 w 374"/>
              <a:gd name="T111" fmla="*/ 84 h 431"/>
              <a:gd name="T112" fmla="*/ 106 w 374"/>
              <a:gd name="T113" fmla="*/ 57 h 431"/>
              <a:gd name="T114" fmla="*/ 134 w 374"/>
              <a:gd name="T115" fmla="*/ 37 h 431"/>
              <a:gd name="T116" fmla="*/ 164 w 374"/>
              <a:gd name="T117" fmla="*/ 20 h 431"/>
              <a:gd name="T118" fmla="*/ 198 w 374"/>
              <a:gd name="T119" fmla="*/ 8 h 431"/>
              <a:gd name="T120" fmla="*/ 234 w 374"/>
              <a:gd name="T121" fmla="*/ 2 h 431"/>
              <a:gd name="T122" fmla="*/ 275 w 374"/>
              <a:gd name="T123" fmla="*/ 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4" h="431">
                <a:moveTo>
                  <a:pt x="275" y="0"/>
                </a:moveTo>
                <a:lnTo>
                  <a:pt x="311" y="1"/>
                </a:lnTo>
                <a:lnTo>
                  <a:pt x="344" y="7"/>
                </a:lnTo>
                <a:lnTo>
                  <a:pt x="374" y="17"/>
                </a:lnTo>
                <a:lnTo>
                  <a:pt x="354" y="96"/>
                </a:lnTo>
                <a:lnTo>
                  <a:pt x="332" y="83"/>
                </a:lnTo>
                <a:lnTo>
                  <a:pt x="303" y="74"/>
                </a:lnTo>
                <a:lnTo>
                  <a:pt x="270" y="71"/>
                </a:lnTo>
                <a:lnTo>
                  <a:pt x="243" y="74"/>
                </a:lnTo>
                <a:lnTo>
                  <a:pt x="220" y="80"/>
                </a:lnTo>
                <a:lnTo>
                  <a:pt x="198" y="90"/>
                </a:lnTo>
                <a:lnTo>
                  <a:pt x="181" y="104"/>
                </a:lnTo>
                <a:lnTo>
                  <a:pt x="164" y="126"/>
                </a:lnTo>
                <a:lnTo>
                  <a:pt x="154" y="152"/>
                </a:lnTo>
                <a:lnTo>
                  <a:pt x="339" y="152"/>
                </a:lnTo>
                <a:lnTo>
                  <a:pt x="328" y="195"/>
                </a:lnTo>
                <a:lnTo>
                  <a:pt x="147" y="195"/>
                </a:lnTo>
                <a:lnTo>
                  <a:pt x="147" y="204"/>
                </a:lnTo>
                <a:lnTo>
                  <a:pt x="147" y="212"/>
                </a:lnTo>
                <a:lnTo>
                  <a:pt x="147" y="222"/>
                </a:lnTo>
                <a:lnTo>
                  <a:pt x="147" y="234"/>
                </a:lnTo>
                <a:lnTo>
                  <a:pt x="319" y="234"/>
                </a:lnTo>
                <a:lnTo>
                  <a:pt x="308" y="277"/>
                </a:lnTo>
                <a:lnTo>
                  <a:pt x="154" y="277"/>
                </a:lnTo>
                <a:lnTo>
                  <a:pt x="164" y="304"/>
                </a:lnTo>
                <a:lnTo>
                  <a:pt x="180" y="324"/>
                </a:lnTo>
                <a:lnTo>
                  <a:pt x="198" y="340"/>
                </a:lnTo>
                <a:lnTo>
                  <a:pt x="219" y="350"/>
                </a:lnTo>
                <a:lnTo>
                  <a:pt x="242" y="356"/>
                </a:lnTo>
                <a:lnTo>
                  <a:pt x="267" y="359"/>
                </a:lnTo>
                <a:lnTo>
                  <a:pt x="299" y="356"/>
                </a:lnTo>
                <a:lnTo>
                  <a:pt x="326" y="350"/>
                </a:lnTo>
                <a:lnTo>
                  <a:pt x="351" y="340"/>
                </a:lnTo>
                <a:lnTo>
                  <a:pt x="371" y="324"/>
                </a:lnTo>
                <a:lnTo>
                  <a:pt x="371" y="412"/>
                </a:lnTo>
                <a:lnTo>
                  <a:pt x="341" y="422"/>
                </a:lnTo>
                <a:lnTo>
                  <a:pt x="306" y="428"/>
                </a:lnTo>
                <a:lnTo>
                  <a:pt x="269" y="431"/>
                </a:lnTo>
                <a:lnTo>
                  <a:pt x="230" y="428"/>
                </a:lnTo>
                <a:lnTo>
                  <a:pt x="196" y="421"/>
                </a:lnTo>
                <a:lnTo>
                  <a:pt x="162" y="411"/>
                </a:lnTo>
                <a:lnTo>
                  <a:pt x="134" y="393"/>
                </a:lnTo>
                <a:lnTo>
                  <a:pt x="106" y="373"/>
                </a:lnTo>
                <a:lnTo>
                  <a:pt x="81" y="346"/>
                </a:lnTo>
                <a:lnTo>
                  <a:pt x="62" y="313"/>
                </a:lnTo>
                <a:lnTo>
                  <a:pt x="49" y="277"/>
                </a:lnTo>
                <a:lnTo>
                  <a:pt x="0" y="277"/>
                </a:lnTo>
                <a:lnTo>
                  <a:pt x="10" y="234"/>
                </a:lnTo>
                <a:lnTo>
                  <a:pt x="43" y="234"/>
                </a:lnTo>
                <a:lnTo>
                  <a:pt x="43" y="218"/>
                </a:lnTo>
                <a:lnTo>
                  <a:pt x="43" y="195"/>
                </a:lnTo>
                <a:lnTo>
                  <a:pt x="0" y="195"/>
                </a:lnTo>
                <a:lnTo>
                  <a:pt x="10" y="152"/>
                </a:lnTo>
                <a:lnTo>
                  <a:pt x="50" y="152"/>
                </a:lnTo>
                <a:lnTo>
                  <a:pt x="63" y="116"/>
                </a:lnTo>
                <a:lnTo>
                  <a:pt x="82" y="84"/>
                </a:lnTo>
                <a:lnTo>
                  <a:pt x="106" y="57"/>
                </a:lnTo>
                <a:lnTo>
                  <a:pt x="134" y="37"/>
                </a:lnTo>
                <a:lnTo>
                  <a:pt x="164" y="20"/>
                </a:lnTo>
                <a:lnTo>
                  <a:pt x="198" y="8"/>
                </a:lnTo>
                <a:lnTo>
                  <a:pt x="234" y="2"/>
                </a:lnTo>
                <a:lnTo>
                  <a:pt x="27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 flipH="1">
            <a:off x="4290670" y="5320650"/>
            <a:ext cx="3607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ection 4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0417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FB7D4B4-1B5E-4414-9E08-62E42666B8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16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FB7D4B4-1B5E-4414-9E08-62E42666B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E20C852-B50C-4D43-84C8-158C820361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T – Key take Awa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AFAF495-447D-43DC-8251-DC5E056E05DB}"/>
              </a:ext>
            </a:extLst>
          </p:cNvPr>
          <p:cNvSpPr/>
          <p:nvPr/>
        </p:nvSpPr>
        <p:spPr>
          <a:xfrm>
            <a:off x="6037148" y="2278394"/>
            <a:ext cx="570734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Based on the CART model here is the criteria  for accepting our loan offer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Income More than USD115k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CCAVG more than USD3k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Yes CD Account </a:t>
            </a:r>
          </a:p>
          <a:p>
            <a:pPr marL="457120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Alternatively 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Income Less than USD115k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Education more than 2 years  or 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000" b="1" dirty="0"/>
              <a:t>Education less than 2 years with family greater than 3pax.</a:t>
            </a:r>
          </a:p>
          <a:p>
            <a:pPr>
              <a:spcBef>
                <a:spcPct val="20000"/>
              </a:spcBef>
              <a:defRPr/>
            </a:pPr>
            <a:endParaRPr lang="en-US" sz="2000" dirty="0"/>
          </a:p>
        </p:txBody>
      </p:sp>
      <p:pic>
        <p:nvPicPr>
          <p:cNvPr id="8" name="Picture">
            <a:extLst>
              <a:ext uri="{FF2B5EF4-FFF2-40B4-BE49-F238E27FC236}">
                <a16:creationId xmlns:a16="http://schemas.microsoft.com/office/drawing/2014/main" id="{F2EB7B42-E48F-4D77-9D3A-ADBE57198960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 bwMode="auto">
          <a:xfrm>
            <a:off x="749737" y="1581150"/>
            <a:ext cx="4619625" cy="36957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97526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cloud\drive\websites\slidemodel\logo\sebastian\slidemodel-logo-tran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491" y="3164751"/>
            <a:ext cx="2791845" cy="52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6161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EB736B-409D-4D13-9CDD-854CD1A604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996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F1E1EA-FE85-431F-903E-05D53C6493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5768111"/>
            <a:ext cx="12188825" cy="1089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oject Overview </a:t>
            </a: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auto">
          <a:xfrm>
            <a:off x="7435512" y="3133200"/>
            <a:ext cx="56372" cy="47022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Freeform 18"/>
          <p:cNvSpPr>
            <a:spLocks noEditPoints="1"/>
          </p:cNvSpPr>
          <p:nvPr/>
        </p:nvSpPr>
        <p:spPr bwMode="auto">
          <a:xfrm>
            <a:off x="6778920" y="1188929"/>
            <a:ext cx="2577978" cy="2162751"/>
          </a:xfrm>
          <a:custGeom>
            <a:avLst/>
            <a:gdLst/>
            <a:ahLst/>
            <a:cxnLst>
              <a:cxn ang="0">
                <a:pos x="629" y="716"/>
              </a:cxn>
              <a:cxn ang="0">
                <a:pos x="538" y="772"/>
              </a:cxn>
              <a:cxn ang="0">
                <a:pos x="523" y="811"/>
              </a:cxn>
              <a:cxn ang="0">
                <a:pos x="502" y="967"/>
              </a:cxn>
              <a:cxn ang="0">
                <a:pos x="463" y="1097"/>
              </a:cxn>
              <a:cxn ang="0">
                <a:pos x="452" y="1136"/>
              </a:cxn>
              <a:cxn ang="0">
                <a:pos x="480" y="1233"/>
              </a:cxn>
              <a:cxn ang="0">
                <a:pos x="508" y="1376"/>
              </a:cxn>
              <a:cxn ang="0">
                <a:pos x="523" y="1302"/>
              </a:cxn>
              <a:cxn ang="0">
                <a:pos x="590" y="1188"/>
              </a:cxn>
              <a:cxn ang="0">
                <a:pos x="670" y="1112"/>
              </a:cxn>
              <a:cxn ang="0">
                <a:pos x="796" y="1023"/>
              </a:cxn>
              <a:cxn ang="0">
                <a:pos x="982" y="889"/>
              </a:cxn>
              <a:cxn ang="0">
                <a:pos x="1038" y="809"/>
              </a:cxn>
              <a:cxn ang="0">
                <a:pos x="941" y="746"/>
              </a:cxn>
              <a:cxn ang="0">
                <a:pos x="785" y="714"/>
              </a:cxn>
              <a:cxn ang="0">
                <a:pos x="705" y="690"/>
              </a:cxn>
              <a:cxn ang="0">
                <a:pos x="843" y="17"/>
              </a:cxn>
              <a:cxn ang="0">
                <a:pos x="1036" y="30"/>
              </a:cxn>
              <a:cxn ang="0">
                <a:pos x="1215" y="65"/>
              </a:cxn>
              <a:cxn ang="0">
                <a:pos x="1486" y="145"/>
              </a:cxn>
              <a:cxn ang="0">
                <a:pos x="1661" y="136"/>
              </a:cxn>
              <a:cxn ang="0">
                <a:pos x="1834" y="56"/>
              </a:cxn>
              <a:cxn ang="0">
                <a:pos x="1875" y="746"/>
              </a:cxn>
              <a:cxn ang="0">
                <a:pos x="1815" y="794"/>
              </a:cxn>
              <a:cxn ang="0">
                <a:pos x="1696" y="889"/>
              </a:cxn>
              <a:cxn ang="0">
                <a:pos x="1583" y="974"/>
              </a:cxn>
              <a:cxn ang="0">
                <a:pos x="1341" y="1049"/>
              </a:cxn>
              <a:cxn ang="0">
                <a:pos x="1211" y="1106"/>
              </a:cxn>
              <a:cxn ang="0">
                <a:pos x="1032" y="1225"/>
              </a:cxn>
              <a:cxn ang="0">
                <a:pos x="846" y="1361"/>
              </a:cxn>
              <a:cxn ang="0">
                <a:pos x="683" y="1488"/>
              </a:cxn>
              <a:cxn ang="0">
                <a:pos x="556" y="1536"/>
              </a:cxn>
              <a:cxn ang="0">
                <a:pos x="504" y="1456"/>
              </a:cxn>
              <a:cxn ang="0">
                <a:pos x="502" y="1415"/>
              </a:cxn>
              <a:cxn ang="0">
                <a:pos x="471" y="1510"/>
              </a:cxn>
              <a:cxn ang="0">
                <a:pos x="402" y="1573"/>
              </a:cxn>
              <a:cxn ang="0">
                <a:pos x="339" y="1547"/>
              </a:cxn>
              <a:cxn ang="0">
                <a:pos x="259" y="1413"/>
              </a:cxn>
              <a:cxn ang="0">
                <a:pos x="162" y="1240"/>
              </a:cxn>
              <a:cxn ang="0">
                <a:pos x="69" y="1030"/>
              </a:cxn>
              <a:cxn ang="0">
                <a:pos x="32" y="824"/>
              </a:cxn>
              <a:cxn ang="0">
                <a:pos x="0" y="640"/>
              </a:cxn>
              <a:cxn ang="0">
                <a:pos x="58" y="524"/>
              </a:cxn>
              <a:cxn ang="0">
                <a:pos x="214" y="431"/>
              </a:cxn>
              <a:cxn ang="0">
                <a:pos x="363" y="331"/>
              </a:cxn>
              <a:cxn ang="0">
                <a:pos x="515" y="175"/>
              </a:cxn>
              <a:cxn ang="0">
                <a:pos x="569" y="89"/>
              </a:cxn>
              <a:cxn ang="0">
                <a:pos x="653" y="9"/>
              </a:cxn>
            </a:cxnLst>
            <a:rect l="0" t="0" r="r" b="b"/>
            <a:pathLst>
              <a:path w="1875" h="1573">
                <a:moveTo>
                  <a:pt x="705" y="690"/>
                </a:moveTo>
                <a:lnTo>
                  <a:pt x="683" y="692"/>
                </a:lnTo>
                <a:lnTo>
                  <a:pt x="657" y="703"/>
                </a:lnTo>
                <a:lnTo>
                  <a:pt x="629" y="716"/>
                </a:lnTo>
                <a:lnTo>
                  <a:pt x="601" y="731"/>
                </a:lnTo>
                <a:lnTo>
                  <a:pt x="577" y="746"/>
                </a:lnTo>
                <a:lnTo>
                  <a:pt x="556" y="762"/>
                </a:lnTo>
                <a:lnTo>
                  <a:pt x="538" y="772"/>
                </a:lnTo>
                <a:lnTo>
                  <a:pt x="530" y="783"/>
                </a:lnTo>
                <a:lnTo>
                  <a:pt x="525" y="788"/>
                </a:lnTo>
                <a:lnTo>
                  <a:pt x="525" y="794"/>
                </a:lnTo>
                <a:lnTo>
                  <a:pt x="523" y="811"/>
                </a:lnTo>
                <a:lnTo>
                  <a:pt x="519" y="835"/>
                </a:lnTo>
                <a:lnTo>
                  <a:pt x="515" y="870"/>
                </a:lnTo>
                <a:lnTo>
                  <a:pt x="510" y="913"/>
                </a:lnTo>
                <a:lnTo>
                  <a:pt x="502" y="967"/>
                </a:lnTo>
                <a:lnTo>
                  <a:pt x="493" y="1013"/>
                </a:lnTo>
                <a:lnTo>
                  <a:pt x="482" y="1049"/>
                </a:lnTo>
                <a:lnTo>
                  <a:pt x="471" y="1075"/>
                </a:lnTo>
                <a:lnTo>
                  <a:pt x="463" y="1097"/>
                </a:lnTo>
                <a:lnTo>
                  <a:pt x="454" y="1110"/>
                </a:lnTo>
                <a:lnTo>
                  <a:pt x="450" y="1121"/>
                </a:lnTo>
                <a:lnTo>
                  <a:pt x="450" y="1127"/>
                </a:lnTo>
                <a:lnTo>
                  <a:pt x="452" y="1136"/>
                </a:lnTo>
                <a:lnTo>
                  <a:pt x="454" y="1151"/>
                </a:lnTo>
                <a:lnTo>
                  <a:pt x="461" y="1170"/>
                </a:lnTo>
                <a:lnTo>
                  <a:pt x="467" y="1196"/>
                </a:lnTo>
                <a:lnTo>
                  <a:pt x="480" y="1233"/>
                </a:lnTo>
                <a:lnTo>
                  <a:pt x="497" y="1276"/>
                </a:lnTo>
                <a:lnTo>
                  <a:pt x="508" y="1313"/>
                </a:lnTo>
                <a:lnTo>
                  <a:pt x="510" y="1350"/>
                </a:lnTo>
                <a:lnTo>
                  <a:pt x="508" y="1376"/>
                </a:lnTo>
                <a:lnTo>
                  <a:pt x="510" y="1365"/>
                </a:lnTo>
                <a:lnTo>
                  <a:pt x="515" y="1339"/>
                </a:lnTo>
                <a:lnTo>
                  <a:pt x="521" y="1318"/>
                </a:lnTo>
                <a:lnTo>
                  <a:pt x="523" y="1302"/>
                </a:lnTo>
                <a:lnTo>
                  <a:pt x="525" y="1298"/>
                </a:lnTo>
                <a:lnTo>
                  <a:pt x="547" y="1250"/>
                </a:lnTo>
                <a:lnTo>
                  <a:pt x="569" y="1214"/>
                </a:lnTo>
                <a:lnTo>
                  <a:pt x="590" y="1188"/>
                </a:lnTo>
                <a:lnTo>
                  <a:pt x="610" y="1166"/>
                </a:lnTo>
                <a:lnTo>
                  <a:pt x="631" y="1149"/>
                </a:lnTo>
                <a:lnTo>
                  <a:pt x="651" y="1132"/>
                </a:lnTo>
                <a:lnTo>
                  <a:pt x="670" y="1112"/>
                </a:lnTo>
                <a:lnTo>
                  <a:pt x="692" y="1093"/>
                </a:lnTo>
                <a:lnTo>
                  <a:pt x="722" y="1073"/>
                </a:lnTo>
                <a:lnTo>
                  <a:pt x="757" y="1049"/>
                </a:lnTo>
                <a:lnTo>
                  <a:pt x="796" y="1023"/>
                </a:lnTo>
                <a:lnTo>
                  <a:pt x="878" y="971"/>
                </a:lnTo>
                <a:lnTo>
                  <a:pt x="915" y="945"/>
                </a:lnTo>
                <a:lnTo>
                  <a:pt x="947" y="920"/>
                </a:lnTo>
                <a:lnTo>
                  <a:pt x="982" y="889"/>
                </a:lnTo>
                <a:lnTo>
                  <a:pt x="1008" y="865"/>
                </a:lnTo>
                <a:lnTo>
                  <a:pt x="1027" y="844"/>
                </a:lnTo>
                <a:lnTo>
                  <a:pt x="1038" y="826"/>
                </a:lnTo>
                <a:lnTo>
                  <a:pt x="1038" y="809"/>
                </a:lnTo>
                <a:lnTo>
                  <a:pt x="1032" y="794"/>
                </a:lnTo>
                <a:lnTo>
                  <a:pt x="1012" y="777"/>
                </a:lnTo>
                <a:lnTo>
                  <a:pt x="980" y="762"/>
                </a:lnTo>
                <a:lnTo>
                  <a:pt x="941" y="746"/>
                </a:lnTo>
                <a:lnTo>
                  <a:pt x="897" y="733"/>
                </a:lnTo>
                <a:lnTo>
                  <a:pt x="852" y="725"/>
                </a:lnTo>
                <a:lnTo>
                  <a:pt x="813" y="718"/>
                </a:lnTo>
                <a:lnTo>
                  <a:pt x="785" y="714"/>
                </a:lnTo>
                <a:lnTo>
                  <a:pt x="761" y="705"/>
                </a:lnTo>
                <a:lnTo>
                  <a:pt x="742" y="699"/>
                </a:lnTo>
                <a:lnTo>
                  <a:pt x="724" y="692"/>
                </a:lnTo>
                <a:lnTo>
                  <a:pt x="705" y="690"/>
                </a:lnTo>
                <a:close/>
                <a:moveTo>
                  <a:pt x="724" y="0"/>
                </a:moveTo>
                <a:lnTo>
                  <a:pt x="763" y="4"/>
                </a:lnTo>
                <a:lnTo>
                  <a:pt x="802" y="11"/>
                </a:lnTo>
                <a:lnTo>
                  <a:pt x="843" y="17"/>
                </a:lnTo>
                <a:lnTo>
                  <a:pt x="880" y="24"/>
                </a:lnTo>
                <a:lnTo>
                  <a:pt x="915" y="26"/>
                </a:lnTo>
                <a:lnTo>
                  <a:pt x="975" y="26"/>
                </a:lnTo>
                <a:lnTo>
                  <a:pt x="1036" y="30"/>
                </a:lnTo>
                <a:lnTo>
                  <a:pt x="1071" y="35"/>
                </a:lnTo>
                <a:lnTo>
                  <a:pt x="1112" y="43"/>
                </a:lnTo>
                <a:lnTo>
                  <a:pt x="1159" y="52"/>
                </a:lnTo>
                <a:lnTo>
                  <a:pt x="1215" y="65"/>
                </a:lnTo>
                <a:lnTo>
                  <a:pt x="1293" y="87"/>
                </a:lnTo>
                <a:lnTo>
                  <a:pt x="1365" y="108"/>
                </a:lnTo>
                <a:lnTo>
                  <a:pt x="1427" y="128"/>
                </a:lnTo>
                <a:lnTo>
                  <a:pt x="1486" y="145"/>
                </a:lnTo>
                <a:lnTo>
                  <a:pt x="1540" y="154"/>
                </a:lnTo>
                <a:lnTo>
                  <a:pt x="1592" y="154"/>
                </a:lnTo>
                <a:lnTo>
                  <a:pt x="1626" y="147"/>
                </a:lnTo>
                <a:lnTo>
                  <a:pt x="1661" y="136"/>
                </a:lnTo>
                <a:lnTo>
                  <a:pt x="1700" y="123"/>
                </a:lnTo>
                <a:lnTo>
                  <a:pt x="1774" y="89"/>
                </a:lnTo>
                <a:lnTo>
                  <a:pt x="1806" y="71"/>
                </a:lnTo>
                <a:lnTo>
                  <a:pt x="1834" y="56"/>
                </a:lnTo>
                <a:lnTo>
                  <a:pt x="1856" y="43"/>
                </a:lnTo>
                <a:lnTo>
                  <a:pt x="1871" y="35"/>
                </a:lnTo>
                <a:lnTo>
                  <a:pt x="1875" y="33"/>
                </a:lnTo>
                <a:lnTo>
                  <a:pt x="1875" y="746"/>
                </a:lnTo>
                <a:lnTo>
                  <a:pt x="1871" y="751"/>
                </a:lnTo>
                <a:lnTo>
                  <a:pt x="1858" y="759"/>
                </a:lnTo>
                <a:lnTo>
                  <a:pt x="1838" y="775"/>
                </a:lnTo>
                <a:lnTo>
                  <a:pt x="1815" y="794"/>
                </a:lnTo>
                <a:lnTo>
                  <a:pt x="1787" y="816"/>
                </a:lnTo>
                <a:lnTo>
                  <a:pt x="1756" y="839"/>
                </a:lnTo>
                <a:lnTo>
                  <a:pt x="1726" y="865"/>
                </a:lnTo>
                <a:lnTo>
                  <a:pt x="1696" y="889"/>
                </a:lnTo>
                <a:lnTo>
                  <a:pt x="1670" y="913"/>
                </a:lnTo>
                <a:lnTo>
                  <a:pt x="1648" y="935"/>
                </a:lnTo>
                <a:lnTo>
                  <a:pt x="1620" y="956"/>
                </a:lnTo>
                <a:lnTo>
                  <a:pt x="1583" y="974"/>
                </a:lnTo>
                <a:lnTo>
                  <a:pt x="1538" y="993"/>
                </a:lnTo>
                <a:lnTo>
                  <a:pt x="1438" y="1023"/>
                </a:lnTo>
                <a:lnTo>
                  <a:pt x="1386" y="1036"/>
                </a:lnTo>
                <a:lnTo>
                  <a:pt x="1341" y="1049"/>
                </a:lnTo>
                <a:lnTo>
                  <a:pt x="1300" y="1062"/>
                </a:lnTo>
                <a:lnTo>
                  <a:pt x="1270" y="1073"/>
                </a:lnTo>
                <a:lnTo>
                  <a:pt x="1244" y="1086"/>
                </a:lnTo>
                <a:lnTo>
                  <a:pt x="1211" y="1106"/>
                </a:lnTo>
                <a:lnTo>
                  <a:pt x="1172" y="1129"/>
                </a:lnTo>
                <a:lnTo>
                  <a:pt x="1129" y="1157"/>
                </a:lnTo>
                <a:lnTo>
                  <a:pt x="1081" y="1190"/>
                </a:lnTo>
                <a:lnTo>
                  <a:pt x="1032" y="1225"/>
                </a:lnTo>
                <a:lnTo>
                  <a:pt x="984" y="1259"/>
                </a:lnTo>
                <a:lnTo>
                  <a:pt x="934" y="1294"/>
                </a:lnTo>
                <a:lnTo>
                  <a:pt x="889" y="1328"/>
                </a:lnTo>
                <a:lnTo>
                  <a:pt x="846" y="1361"/>
                </a:lnTo>
                <a:lnTo>
                  <a:pt x="809" y="1389"/>
                </a:lnTo>
                <a:lnTo>
                  <a:pt x="763" y="1426"/>
                </a:lnTo>
                <a:lnTo>
                  <a:pt x="722" y="1460"/>
                </a:lnTo>
                <a:lnTo>
                  <a:pt x="683" y="1488"/>
                </a:lnTo>
                <a:lnTo>
                  <a:pt x="647" y="1512"/>
                </a:lnTo>
                <a:lnTo>
                  <a:pt x="614" y="1530"/>
                </a:lnTo>
                <a:lnTo>
                  <a:pt x="584" y="1538"/>
                </a:lnTo>
                <a:lnTo>
                  <a:pt x="556" y="1536"/>
                </a:lnTo>
                <a:lnTo>
                  <a:pt x="532" y="1525"/>
                </a:lnTo>
                <a:lnTo>
                  <a:pt x="517" y="1508"/>
                </a:lnTo>
                <a:lnTo>
                  <a:pt x="508" y="1484"/>
                </a:lnTo>
                <a:lnTo>
                  <a:pt x="504" y="1456"/>
                </a:lnTo>
                <a:lnTo>
                  <a:pt x="504" y="1426"/>
                </a:lnTo>
                <a:lnTo>
                  <a:pt x="506" y="1395"/>
                </a:lnTo>
                <a:lnTo>
                  <a:pt x="506" y="1393"/>
                </a:lnTo>
                <a:lnTo>
                  <a:pt x="502" y="1415"/>
                </a:lnTo>
                <a:lnTo>
                  <a:pt x="493" y="1441"/>
                </a:lnTo>
                <a:lnTo>
                  <a:pt x="484" y="1463"/>
                </a:lnTo>
                <a:lnTo>
                  <a:pt x="476" y="1480"/>
                </a:lnTo>
                <a:lnTo>
                  <a:pt x="471" y="1510"/>
                </a:lnTo>
                <a:lnTo>
                  <a:pt x="461" y="1534"/>
                </a:lnTo>
                <a:lnTo>
                  <a:pt x="443" y="1553"/>
                </a:lnTo>
                <a:lnTo>
                  <a:pt x="424" y="1564"/>
                </a:lnTo>
                <a:lnTo>
                  <a:pt x="402" y="1573"/>
                </a:lnTo>
                <a:lnTo>
                  <a:pt x="383" y="1573"/>
                </a:lnTo>
                <a:lnTo>
                  <a:pt x="363" y="1569"/>
                </a:lnTo>
                <a:lnTo>
                  <a:pt x="350" y="1560"/>
                </a:lnTo>
                <a:lnTo>
                  <a:pt x="339" y="1547"/>
                </a:lnTo>
                <a:lnTo>
                  <a:pt x="324" y="1523"/>
                </a:lnTo>
                <a:lnTo>
                  <a:pt x="305" y="1491"/>
                </a:lnTo>
                <a:lnTo>
                  <a:pt x="283" y="1454"/>
                </a:lnTo>
                <a:lnTo>
                  <a:pt x="259" y="1413"/>
                </a:lnTo>
                <a:lnTo>
                  <a:pt x="233" y="1367"/>
                </a:lnTo>
                <a:lnTo>
                  <a:pt x="210" y="1324"/>
                </a:lnTo>
                <a:lnTo>
                  <a:pt x="186" y="1279"/>
                </a:lnTo>
                <a:lnTo>
                  <a:pt x="162" y="1240"/>
                </a:lnTo>
                <a:lnTo>
                  <a:pt x="143" y="1203"/>
                </a:lnTo>
                <a:lnTo>
                  <a:pt x="114" y="1147"/>
                </a:lnTo>
                <a:lnTo>
                  <a:pt x="91" y="1088"/>
                </a:lnTo>
                <a:lnTo>
                  <a:pt x="69" y="1030"/>
                </a:lnTo>
                <a:lnTo>
                  <a:pt x="54" y="971"/>
                </a:lnTo>
                <a:lnTo>
                  <a:pt x="41" y="917"/>
                </a:lnTo>
                <a:lnTo>
                  <a:pt x="37" y="870"/>
                </a:lnTo>
                <a:lnTo>
                  <a:pt x="32" y="824"/>
                </a:lnTo>
                <a:lnTo>
                  <a:pt x="24" y="777"/>
                </a:lnTo>
                <a:lnTo>
                  <a:pt x="13" y="729"/>
                </a:lnTo>
                <a:lnTo>
                  <a:pt x="4" y="682"/>
                </a:lnTo>
                <a:lnTo>
                  <a:pt x="0" y="640"/>
                </a:lnTo>
                <a:lnTo>
                  <a:pt x="2" y="602"/>
                </a:lnTo>
                <a:lnTo>
                  <a:pt x="13" y="573"/>
                </a:lnTo>
                <a:lnTo>
                  <a:pt x="32" y="547"/>
                </a:lnTo>
                <a:lnTo>
                  <a:pt x="58" y="524"/>
                </a:lnTo>
                <a:lnTo>
                  <a:pt x="88" y="502"/>
                </a:lnTo>
                <a:lnTo>
                  <a:pt x="121" y="483"/>
                </a:lnTo>
                <a:lnTo>
                  <a:pt x="153" y="465"/>
                </a:lnTo>
                <a:lnTo>
                  <a:pt x="214" y="431"/>
                </a:lnTo>
                <a:lnTo>
                  <a:pt x="246" y="413"/>
                </a:lnTo>
                <a:lnTo>
                  <a:pt x="283" y="392"/>
                </a:lnTo>
                <a:lnTo>
                  <a:pt x="322" y="364"/>
                </a:lnTo>
                <a:lnTo>
                  <a:pt x="363" y="331"/>
                </a:lnTo>
                <a:lnTo>
                  <a:pt x="409" y="290"/>
                </a:lnTo>
                <a:lnTo>
                  <a:pt x="458" y="240"/>
                </a:lnTo>
                <a:lnTo>
                  <a:pt x="491" y="206"/>
                </a:lnTo>
                <a:lnTo>
                  <a:pt x="515" y="175"/>
                </a:lnTo>
                <a:lnTo>
                  <a:pt x="534" y="149"/>
                </a:lnTo>
                <a:lnTo>
                  <a:pt x="547" y="126"/>
                </a:lnTo>
                <a:lnTo>
                  <a:pt x="560" y="106"/>
                </a:lnTo>
                <a:lnTo>
                  <a:pt x="569" y="89"/>
                </a:lnTo>
                <a:lnTo>
                  <a:pt x="590" y="59"/>
                </a:lnTo>
                <a:lnTo>
                  <a:pt x="603" y="41"/>
                </a:lnTo>
                <a:lnTo>
                  <a:pt x="623" y="26"/>
                </a:lnTo>
                <a:lnTo>
                  <a:pt x="653" y="9"/>
                </a:lnTo>
                <a:lnTo>
                  <a:pt x="686" y="2"/>
                </a:lnTo>
                <a:lnTo>
                  <a:pt x="724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4" name="Group 83"/>
          <p:cNvGrpSpPr/>
          <p:nvPr/>
        </p:nvGrpSpPr>
        <p:grpSpPr>
          <a:xfrm>
            <a:off x="6300435" y="3402151"/>
            <a:ext cx="2303955" cy="2622834"/>
            <a:chOff x="430213" y="3070225"/>
            <a:chExt cx="2190750" cy="2493963"/>
          </a:xfrm>
          <a:effectLst/>
        </p:grpSpPr>
        <p:sp>
          <p:nvSpPr>
            <p:cNvPr id="35" name="Freeform 11"/>
            <p:cNvSpPr>
              <a:spLocks/>
            </p:cNvSpPr>
            <p:nvPr/>
          </p:nvSpPr>
          <p:spPr bwMode="auto">
            <a:xfrm>
              <a:off x="430213" y="3317875"/>
              <a:ext cx="2108200" cy="1995488"/>
            </a:xfrm>
            <a:custGeom>
              <a:avLst/>
              <a:gdLst/>
              <a:ahLst/>
              <a:cxnLst>
                <a:cxn ang="0">
                  <a:pos x="664" y="0"/>
                </a:cxn>
                <a:cxn ang="0">
                  <a:pos x="755" y="6"/>
                </a:cxn>
                <a:cxn ang="0">
                  <a:pos x="842" y="21"/>
                </a:cxn>
                <a:cxn ang="0">
                  <a:pos x="924" y="50"/>
                </a:cxn>
                <a:cxn ang="0">
                  <a:pos x="999" y="86"/>
                </a:cxn>
                <a:cxn ang="0">
                  <a:pos x="1071" y="132"/>
                </a:cxn>
                <a:cxn ang="0">
                  <a:pos x="1134" y="184"/>
                </a:cxn>
                <a:cxn ang="0">
                  <a:pos x="1190" y="244"/>
                </a:cxn>
                <a:cxn ang="0">
                  <a:pos x="1237" y="311"/>
                </a:cxn>
                <a:cxn ang="0">
                  <a:pos x="1276" y="385"/>
                </a:cxn>
                <a:cxn ang="0">
                  <a:pos x="1304" y="463"/>
                </a:cxn>
                <a:cxn ang="0">
                  <a:pos x="1322" y="543"/>
                </a:cxn>
                <a:cxn ang="0">
                  <a:pos x="1328" y="629"/>
                </a:cxn>
                <a:cxn ang="0">
                  <a:pos x="1322" y="714"/>
                </a:cxn>
                <a:cxn ang="0">
                  <a:pos x="1304" y="796"/>
                </a:cxn>
                <a:cxn ang="0">
                  <a:pos x="1276" y="874"/>
                </a:cxn>
                <a:cxn ang="0">
                  <a:pos x="1237" y="945"/>
                </a:cxn>
                <a:cxn ang="0">
                  <a:pos x="1190" y="1012"/>
                </a:cxn>
                <a:cxn ang="0">
                  <a:pos x="1134" y="1073"/>
                </a:cxn>
                <a:cxn ang="0">
                  <a:pos x="1071" y="1127"/>
                </a:cxn>
                <a:cxn ang="0">
                  <a:pos x="999" y="1170"/>
                </a:cxn>
                <a:cxn ang="0">
                  <a:pos x="924" y="1207"/>
                </a:cxn>
                <a:cxn ang="0">
                  <a:pos x="842" y="1235"/>
                </a:cxn>
                <a:cxn ang="0">
                  <a:pos x="755" y="1250"/>
                </a:cxn>
                <a:cxn ang="0">
                  <a:pos x="664" y="1257"/>
                </a:cxn>
                <a:cxn ang="0">
                  <a:pos x="573" y="1250"/>
                </a:cxn>
                <a:cxn ang="0">
                  <a:pos x="489" y="1235"/>
                </a:cxn>
                <a:cxn ang="0">
                  <a:pos x="407" y="1207"/>
                </a:cxn>
                <a:cxn ang="0">
                  <a:pos x="329" y="1170"/>
                </a:cxn>
                <a:cxn ang="0">
                  <a:pos x="260" y="1127"/>
                </a:cxn>
                <a:cxn ang="0">
                  <a:pos x="195" y="1073"/>
                </a:cxn>
                <a:cxn ang="0">
                  <a:pos x="139" y="1012"/>
                </a:cxn>
                <a:cxn ang="0">
                  <a:pos x="91" y="945"/>
                </a:cxn>
                <a:cxn ang="0">
                  <a:pos x="52" y="874"/>
                </a:cxn>
                <a:cxn ang="0">
                  <a:pos x="24" y="796"/>
                </a:cxn>
                <a:cxn ang="0">
                  <a:pos x="7" y="714"/>
                </a:cxn>
                <a:cxn ang="0">
                  <a:pos x="0" y="629"/>
                </a:cxn>
                <a:cxn ang="0">
                  <a:pos x="7" y="543"/>
                </a:cxn>
                <a:cxn ang="0">
                  <a:pos x="24" y="463"/>
                </a:cxn>
                <a:cxn ang="0">
                  <a:pos x="52" y="385"/>
                </a:cxn>
                <a:cxn ang="0">
                  <a:pos x="91" y="311"/>
                </a:cxn>
                <a:cxn ang="0">
                  <a:pos x="139" y="244"/>
                </a:cxn>
                <a:cxn ang="0">
                  <a:pos x="195" y="184"/>
                </a:cxn>
                <a:cxn ang="0">
                  <a:pos x="260" y="132"/>
                </a:cxn>
                <a:cxn ang="0">
                  <a:pos x="329" y="86"/>
                </a:cxn>
                <a:cxn ang="0">
                  <a:pos x="407" y="50"/>
                </a:cxn>
                <a:cxn ang="0">
                  <a:pos x="489" y="21"/>
                </a:cxn>
                <a:cxn ang="0">
                  <a:pos x="573" y="6"/>
                </a:cxn>
                <a:cxn ang="0">
                  <a:pos x="664" y="0"/>
                </a:cxn>
              </a:cxnLst>
              <a:rect l="0" t="0" r="r" b="b"/>
              <a:pathLst>
                <a:path w="1328" h="1257">
                  <a:moveTo>
                    <a:pt x="664" y="0"/>
                  </a:moveTo>
                  <a:lnTo>
                    <a:pt x="755" y="6"/>
                  </a:lnTo>
                  <a:lnTo>
                    <a:pt x="842" y="21"/>
                  </a:lnTo>
                  <a:lnTo>
                    <a:pt x="924" y="50"/>
                  </a:lnTo>
                  <a:lnTo>
                    <a:pt x="999" y="86"/>
                  </a:lnTo>
                  <a:lnTo>
                    <a:pt x="1071" y="132"/>
                  </a:lnTo>
                  <a:lnTo>
                    <a:pt x="1134" y="184"/>
                  </a:lnTo>
                  <a:lnTo>
                    <a:pt x="1190" y="244"/>
                  </a:lnTo>
                  <a:lnTo>
                    <a:pt x="1237" y="311"/>
                  </a:lnTo>
                  <a:lnTo>
                    <a:pt x="1276" y="385"/>
                  </a:lnTo>
                  <a:lnTo>
                    <a:pt x="1304" y="463"/>
                  </a:lnTo>
                  <a:lnTo>
                    <a:pt x="1322" y="543"/>
                  </a:lnTo>
                  <a:lnTo>
                    <a:pt x="1328" y="629"/>
                  </a:lnTo>
                  <a:lnTo>
                    <a:pt x="1322" y="714"/>
                  </a:lnTo>
                  <a:lnTo>
                    <a:pt x="1304" y="796"/>
                  </a:lnTo>
                  <a:lnTo>
                    <a:pt x="1276" y="874"/>
                  </a:lnTo>
                  <a:lnTo>
                    <a:pt x="1237" y="945"/>
                  </a:lnTo>
                  <a:lnTo>
                    <a:pt x="1190" y="1012"/>
                  </a:lnTo>
                  <a:lnTo>
                    <a:pt x="1134" y="1073"/>
                  </a:lnTo>
                  <a:lnTo>
                    <a:pt x="1071" y="1127"/>
                  </a:lnTo>
                  <a:lnTo>
                    <a:pt x="999" y="1170"/>
                  </a:lnTo>
                  <a:lnTo>
                    <a:pt x="924" y="1207"/>
                  </a:lnTo>
                  <a:lnTo>
                    <a:pt x="842" y="1235"/>
                  </a:lnTo>
                  <a:lnTo>
                    <a:pt x="755" y="1250"/>
                  </a:lnTo>
                  <a:lnTo>
                    <a:pt x="664" y="1257"/>
                  </a:lnTo>
                  <a:lnTo>
                    <a:pt x="573" y="1250"/>
                  </a:lnTo>
                  <a:lnTo>
                    <a:pt x="489" y="1235"/>
                  </a:lnTo>
                  <a:lnTo>
                    <a:pt x="407" y="1207"/>
                  </a:lnTo>
                  <a:lnTo>
                    <a:pt x="329" y="1170"/>
                  </a:lnTo>
                  <a:lnTo>
                    <a:pt x="260" y="1127"/>
                  </a:lnTo>
                  <a:lnTo>
                    <a:pt x="195" y="1073"/>
                  </a:lnTo>
                  <a:lnTo>
                    <a:pt x="139" y="1012"/>
                  </a:lnTo>
                  <a:lnTo>
                    <a:pt x="91" y="945"/>
                  </a:lnTo>
                  <a:lnTo>
                    <a:pt x="52" y="874"/>
                  </a:lnTo>
                  <a:lnTo>
                    <a:pt x="24" y="796"/>
                  </a:lnTo>
                  <a:lnTo>
                    <a:pt x="7" y="714"/>
                  </a:lnTo>
                  <a:lnTo>
                    <a:pt x="0" y="629"/>
                  </a:lnTo>
                  <a:lnTo>
                    <a:pt x="7" y="543"/>
                  </a:lnTo>
                  <a:lnTo>
                    <a:pt x="24" y="463"/>
                  </a:lnTo>
                  <a:lnTo>
                    <a:pt x="52" y="385"/>
                  </a:lnTo>
                  <a:lnTo>
                    <a:pt x="91" y="311"/>
                  </a:lnTo>
                  <a:lnTo>
                    <a:pt x="139" y="244"/>
                  </a:lnTo>
                  <a:lnTo>
                    <a:pt x="195" y="184"/>
                  </a:lnTo>
                  <a:lnTo>
                    <a:pt x="260" y="132"/>
                  </a:lnTo>
                  <a:lnTo>
                    <a:pt x="329" y="86"/>
                  </a:lnTo>
                  <a:lnTo>
                    <a:pt x="407" y="50"/>
                  </a:lnTo>
                  <a:lnTo>
                    <a:pt x="489" y="21"/>
                  </a:lnTo>
                  <a:lnTo>
                    <a:pt x="573" y="6"/>
                  </a:lnTo>
                  <a:lnTo>
                    <a:pt x="664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auto">
            <a:xfrm>
              <a:off x="450851" y="3070225"/>
              <a:ext cx="889000" cy="1068388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206" y="4"/>
                </a:cxn>
                <a:cxn ang="0">
                  <a:pos x="253" y="17"/>
                </a:cxn>
                <a:cxn ang="0">
                  <a:pos x="301" y="39"/>
                </a:cxn>
                <a:cxn ang="0">
                  <a:pos x="348" y="71"/>
                </a:cxn>
                <a:cxn ang="0">
                  <a:pos x="394" y="110"/>
                </a:cxn>
                <a:cxn ang="0">
                  <a:pos x="437" y="158"/>
                </a:cxn>
                <a:cxn ang="0">
                  <a:pos x="476" y="212"/>
                </a:cxn>
                <a:cxn ang="0">
                  <a:pos x="506" y="264"/>
                </a:cxn>
                <a:cxn ang="0">
                  <a:pos x="530" y="316"/>
                </a:cxn>
                <a:cxn ang="0">
                  <a:pos x="545" y="368"/>
                </a:cxn>
                <a:cxn ang="0">
                  <a:pos x="556" y="420"/>
                </a:cxn>
                <a:cxn ang="0">
                  <a:pos x="560" y="469"/>
                </a:cxn>
                <a:cxn ang="0">
                  <a:pos x="558" y="515"/>
                </a:cxn>
                <a:cxn ang="0">
                  <a:pos x="547" y="556"/>
                </a:cxn>
                <a:cxn ang="0">
                  <a:pos x="532" y="593"/>
                </a:cxn>
                <a:cxn ang="0">
                  <a:pos x="508" y="625"/>
                </a:cxn>
                <a:cxn ang="0">
                  <a:pos x="480" y="649"/>
                </a:cxn>
                <a:cxn ang="0">
                  <a:pos x="441" y="666"/>
                </a:cxn>
                <a:cxn ang="0">
                  <a:pos x="400" y="673"/>
                </a:cxn>
                <a:cxn ang="0">
                  <a:pos x="355" y="671"/>
                </a:cxn>
                <a:cxn ang="0">
                  <a:pos x="307" y="658"/>
                </a:cxn>
                <a:cxn ang="0">
                  <a:pos x="260" y="634"/>
                </a:cxn>
                <a:cxn ang="0">
                  <a:pos x="212" y="604"/>
                </a:cxn>
                <a:cxn ang="0">
                  <a:pos x="167" y="565"/>
                </a:cxn>
                <a:cxn ang="0">
                  <a:pos x="123" y="517"/>
                </a:cxn>
                <a:cxn ang="0">
                  <a:pos x="84" y="463"/>
                </a:cxn>
                <a:cxn ang="0">
                  <a:pos x="54" y="411"/>
                </a:cxn>
                <a:cxn ang="0">
                  <a:pos x="30" y="357"/>
                </a:cxn>
                <a:cxn ang="0">
                  <a:pos x="15" y="305"/>
                </a:cxn>
                <a:cxn ang="0">
                  <a:pos x="4" y="253"/>
                </a:cxn>
                <a:cxn ang="0">
                  <a:pos x="0" y="206"/>
                </a:cxn>
                <a:cxn ang="0">
                  <a:pos x="2" y="160"/>
                </a:cxn>
                <a:cxn ang="0">
                  <a:pos x="13" y="117"/>
                </a:cxn>
                <a:cxn ang="0">
                  <a:pos x="28" y="80"/>
                </a:cxn>
                <a:cxn ang="0">
                  <a:pos x="52" y="50"/>
                </a:cxn>
                <a:cxn ang="0">
                  <a:pos x="80" y="24"/>
                </a:cxn>
                <a:cxn ang="0">
                  <a:pos x="119" y="7"/>
                </a:cxn>
                <a:cxn ang="0">
                  <a:pos x="160" y="0"/>
                </a:cxn>
              </a:cxnLst>
              <a:rect l="0" t="0" r="r" b="b"/>
              <a:pathLst>
                <a:path w="560" h="673">
                  <a:moveTo>
                    <a:pt x="160" y="0"/>
                  </a:moveTo>
                  <a:lnTo>
                    <a:pt x="206" y="4"/>
                  </a:lnTo>
                  <a:lnTo>
                    <a:pt x="253" y="17"/>
                  </a:lnTo>
                  <a:lnTo>
                    <a:pt x="301" y="39"/>
                  </a:lnTo>
                  <a:lnTo>
                    <a:pt x="348" y="71"/>
                  </a:lnTo>
                  <a:lnTo>
                    <a:pt x="394" y="110"/>
                  </a:lnTo>
                  <a:lnTo>
                    <a:pt x="437" y="158"/>
                  </a:lnTo>
                  <a:lnTo>
                    <a:pt x="476" y="212"/>
                  </a:lnTo>
                  <a:lnTo>
                    <a:pt x="506" y="264"/>
                  </a:lnTo>
                  <a:lnTo>
                    <a:pt x="530" y="316"/>
                  </a:lnTo>
                  <a:lnTo>
                    <a:pt x="545" y="368"/>
                  </a:lnTo>
                  <a:lnTo>
                    <a:pt x="556" y="420"/>
                  </a:lnTo>
                  <a:lnTo>
                    <a:pt x="560" y="469"/>
                  </a:lnTo>
                  <a:lnTo>
                    <a:pt x="558" y="515"/>
                  </a:lnTo>
                  <a:lnTo>
                    <a:pt x="547" y="556"/>
                  </a:lnTo>
                  <a:lnTo>
                    <a:pt x="532" y="593"/>
                  </a:lnTo>
                  <a:lnTo>
                    <a:pt x="508" y="625"/>
                  </a:lnTo>
                  <a:lnTo>
                    <a:pt x="480" y="649"/>
                  </a:lnTo>
                  <a:lnTo>
                    <a:pt x="441" y="666"/>
                  </a:lnTo>
                  <a:lnTo>
                    <a:pt x="400" y="673"/>
                  </a:lnTo>
                  <a:lnTo>
                    <a:pt x="355" y="671"/>
                  </a:lnTo>
                  <a:lnTo>
                    <a:pt x="307" y="658"/>
                  </a:lnTo>
                  <a:lnTo>
                    <a:pt x="260" y="634"/>
                  </a:lnTo>
                  <a:lnTo>
                    <a:pt x="212" y="604"/>
                  </a:lnTo>
                  <a:lnTo>
                    <a:pt x="167" y="565"/>
                  </a:lnTo>
                  <a:lnTo>
                    <a:pt x="123" y="517"/>
                  </a:lnTo>
                  <a:lnTo>
                    <a:pt x="84" y="463"/>
                  </a:lnTo>
                  <a:lnTo>
                    <a:pt x="54" y="411"/>
                  </a:lnTo>
                  <a:lnTo>
                    <a:pt x="30" y="357"/>
                  </a:lnTo>
                  <a:lnTo>
                    <a:pt x="15" y="305"/>
                  </a:lnTo>
                  <a:lnTo>
                    <a:pt x="4" y="253"/>
                  </a:lnTo>
                  <a:lnTo>
                    <a:pt x="0" y="206"/>
                  </a:lnTo>
                  <a:lnTo>
                    <a:pt x="2" y="160"/>
                  </a:lnTo>
                  <a:lnTo>
                    <a:pt x="13" y="117"/>
                  </a:lnTo>
                  <a:lnTo>
                    <a:pt x="28" y="80"/>
                  </a:lnTo>
                  <a:lnTo>
                    <a:pt x="52" y="50"/>
                  </a:lnTo>
                  <a:lnTo>
                    <a:pt x="80" y="24"/>
                  </a:lnTo>
                  <a:lnTo>
                    <a:pt x="119" y="7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13"/>
            <p:cNvSpPr>
              <a:spLocks/>
            </p:cNvSpPr>
            <p:nvPr/>
          </p:nvSpPr>
          <p:spPr bwMode="auto">
            <a:xfrm>
              <a:off x="1731963" y="3070225"/>
              <a:ext cx="889000" cy="1068388"/>
            </a:xfrm>
            <a:custGeom>
              <a:avLst/>
              <a:gdLst/>
              <a:ahLst/>
              <a:cxnLst>
                <a:cxn ang="0">
                  <a:pos x="400" y="0"/>
                </a:cxn>
                <a:cxn ang="0">
                  <a:pos x="441" y="7"/>
                </a:cxn>
                <a:cxn ang="0">
                  <a:pos x="480" y="24"/>
                </a:cxn>
                <a:cxn ang="0">
                  <a:pos x="508" y="50"/>
                </a:cxn>
                <a:cxn ang="0">
                  <a:pos x="532" y="80"/>
                </a:cxn>
                <a:cxn ang="0">
                  <a:pos x="547" y="117"/>
                </a:cxn>
                <a:cxn ang="0">
                  <a:pos x="558" y="160"/>
                </a:cxn>
                <a:cxn ang="0">
                  <a:pos x="560" y="206"/>
                </a:cxn>
                <a:cxn ang="0">
                  <a:pos x="556" y="253"/>
                </a:cxn>
                <a:cxn ang="0">
                  <a:pos x="545" y="305"/>
                </a:cxn>
                <a:cxn ang="0">
                  <a:pos x="530" y="357"/>
                </a:cxn>
                <a:cxn ang="0">
                  <a:pos x="506" y="411"/>
                </a:cxn>
                <a:cxn ang="0">
                  <a:pos x="476" y="463"/>
                </a:cxn>
                <a:cxn ang="0">
                  <a:pos x="437" y="517"/>
                </a:cxn>
                <a:cxn ang="0">
                  <a:pos x="394" y="565"/>
                </a:cxn>
                <a:cxn ang="0">
                  <a:pos x="348" y="604"/>
                </a:cxn>
                <a:cxn ang="0">
                  <a:pos x="301" y="634"/>
                </a:cxn>
                <a:cxn ang="0">
                  <a:pos x="253" y="658"/>
                </a:cxn>
                <a:cxn ang="0">
                  <a:pos x="205" y="671"/>
                </a:cxn>
                <a:cxn ang="0">
                  <a:pos x="160" y="673"/>
                </a:cxn>
                <a:cxn ang="0">
                  <a:pos x="119" y="666"/>
                </a:cxn>
                <a:cxn ang="0">
                  <a:pos x="80" y="649"/>
                </a:cxn>
                <a:cxn ang="0">
                  <a:pos x="52" y="625"/>
                </a:cxn>
                <a:cxn ang="0">
                  <a:pos x="28" y="593"/>
                </a:cxn>
                <a:cxn ang="0">
                  <a:pos x="13" y="556"/>
                </a:cxn>
                <a:cxn ang="0">
                  <a:pos x="2" y="515"/>
                </a:cxn>
                <a:cxn ang="0">
                  <a:pos x="0" y="469"/>
                </a:cxn>
                <a:cxn ang="0">
                  <a:pos x="4" y="420"/>
                </a:cxn>
                <a:cxn ang="0">
                  <a:pos x="15" y="368"/>
                </a:cxn>
                <a:cxn ang="0">
                  <a:pos x="30" y="316"/>
                </a:cxn>
                <a:cxn ang="0">
                  <a:pos x="54" y="264"/>
                </a:cxn>
                <a:cxn ang="0">
                  <a:pos x="84" y="212"/>
                </a:cxn>
                <a:cxn ang="0">
                  <a:pos x="123" y="158"/>
                </a:cxn>
                <a:cxn ang="0">
                  <a:pos x="166" y="110"/>
                </a:cxn>
                <a:cxn ang="0">
                  <a:pos x="212" y="71"/>
                </a:cxn>
                <a:cxn ang="0">
                  <a:pos x="259" y="39"/>
                </a:cxn>
                <a:cxn ang="0">
                  <a:pos x="307" y="17"/>
                </a:cxn>
                <a:cxn ang="0">
                  <a:pos x="355" y="4"/>
                </a:cxn>
                <a:cxn ang="0">
                  <a:pos x="400" y="0"/>
                </a:cxn>
              </a:cxnLst>
              <a:rect l="0" t="0" r="r" b="b"/>
              <a:pathLst>
                <a:path w="560" h="673">
                  <a:moveTo>
                    <a:pt x="400" y="0"/>
                  </a:moveTo>
                  <a:lnTo>
                    <a:pt x="441" y="7"/>
                  </a:lnTo>
                  <a:lnTo>
                    <a:pt x="480" y="24"/>
                  </a:lnTo>
                  <a:lnTo>
                    <a:pt x="508" y="50"/>
                  </a:lnTo>
                  <a:lnTo>
                    <a:pt x="532" y="80"/>
                  </a:lnTo>
                  <a:lnTo>
                    <a:pt x="547" y="117"/>
                  </a:lnTo>
                  <a:lnTo>
                    <a:pt x="558" y="160"/>
                  </a:lnTo>
                  <a:lnTo>
                    <a:pt x="560" y="206"/>
                  </a:lnTo>
                  <a:lnTo>
                    <a:pt x="556" y="253"/>
                  </a:lnTo>
                  <a:lnTo>
                    <a:pt x="545" y="305"/>
                  </a:lnTo>
                  <a:lnTo>
                    <a:pt x="530" y="357"/>
                  </a:lnTo>
                  <a:lnTo>
                    <a:pt x="506" y="411"/>
                  </a:lnTo>
                  <a:lnTo>
                    <a:pt x="476" y="463"/>
                  </a:lnTo>
                  <a:lnTo>
                    <a:pt x="437" y="517"/>
                  </a:lnTo>
                  <a:lnTo>
                    <a:pt x="394" y="565"/>
                  </a:lnTo>
                  <a:lnTo>
                    <a:pt x="348" y="604"/>
                  </a:lnTo>
                  <a:lnTo>
                    <a:pt x="301" y="634"/>
                  </a:lnTo>
                  <a:lnTo>
                    <a:pt x="253" y="658"/>
                  </a:lnTo>
                  <a:lnTo>
                    <a:pt x="205" y="671"/>
                  </a:lnTo>
                  <a:lnTo>
                    <a:pt x="160" y="673"/>
                  </a:lnTo>
                  <a:lnTo>
                    <a:pt x="119" y="666"/>
                  </a:lnTo>
                  <a:lnTo>
                    <a:pt x="80" y="649"/>
                  </a:lnTo>
                  <a:lnTo>
                    <a:pt x="52" y="625"/>
                  </a:lnTo>
                  <a:lnTo>
                    <a:pt x="28" y="593"/>
                  </a:lnTo>
                  <a:lnTo>
                    <a:pt x="13" y="556"/>
                  </a:lnTo>
                  <a:lnTo>
                    <a:pt x="2" y="515"/>
                  </a:lnTo>
                  <a:lnTo>
                    <a:pt x="0" y="469"/>
                  </a:lnTo>
                  <a:lnTo>
                    <a:pt x="4" y="420"/>
                  </a:lnTo>
                  <a:lnTo>
                    <a:pt x="15" y="368"/>
                  </a:lnTo>
                  <a:lnTo>
                    <a:pt x="30" y="316"/>
                  </a:lnTo>
                  <a:lnTo>
                    <a:pt x="54" y="264"/>
                  </a:lnTo>
                  <a:lnTo>
                    <a:pt x="84" y="212"/>
                  </a:lnTo>
                  <a:lnTo>
                    <a:pt x="123" y="158"/>
                  </a:lnTo>
                  <a:lnTo>
                    <a:pt x="166" y="110"/>
                  </a:lnTo>
                  <a:lnTo>
                    <a:pt x="212" y="71"/>
                  </a:lnTo>
                  <a:lnTo>
                    <a:pt x="259" y="39"/>
                  </a:lnTo>
                  <a:lnTo>
                    <a:pt x="307" y="17"/>
                  </a:lnTo>
                  <a:lnTo>
                    <a:pt x="355" y="4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>
              <a:off x="681038" y="4849813"/>
              <a:ext cx="708025" cy="714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2"/>
                </a:cxn>
                <a:cxn ang="0">
                  <a:pos x="9" y="8"/>
                </a:cxn>
                <a:cxn ang="0">
                  <a:pos x="19" y="15"/>
                </a:cxn>
                <a:cxn ang="0">
                  <a:pos x="37" y="23"/>
                </a:cxn>
                <a:cxn ang="0">
                  <a:pos x="58" y="36"/>
                </a:cxn>
                <a:cxn ang="0">
                  <a:pos x="91" y="54"/>
                </a:cxn>
                <a:cxn ang="0">
                  <a:pos x="115" y="65"/>
                </a:cxn>
                <a:cxn ang="0">
                  <a:pos x="147" y="77"/>
                </a:cxn>
                <a:cxn ang="0">
                  <a:pos x="182" y="90"/>
                </a:cxn>
                <a:cxn ang="0">
                  <a:pos x="221" y="106"/>
                </a:cxn>
                <a:cxn ang="0">
                  <a:pos x="260" y="119"/>
                </a:cxn>
                <a:cxn ang="0">
                  <a:pos x="301" y="132"/>
                </a:cxn>
                <a:cxn ang="0">
                  <a:pos x="337" y="145"/>
                </a:cxn>
                <a:cxn ang="0">
                  <a:pos x="372" y="155"/>
                </a:cxn>
                <a:cxn ang="0">
                  <a:pos x="402" y="164"/>
                </a:cxn>
                <a:cxn ang="0">
                  <a:pos x="426" y="171"/>
                </a:cxn>
                <a:cxn ang="0">
                  <a:pos x="441" y="175"/>
                </a:cxn>
                <a:cxn ang="0">
                  <a:pos x="446" y="177"/>
                </a:cxn>
                <a:cxn ang="0">
                  <a:pos x="443" y="183"/>
                </a:cxn>
                <a:cxn ang="0">
                  <a:pos x="437" y="199"/>
                </a:cxn>
                <a:cxn ang="0">
                  <a:pos x="428" y="225"/>
                </a:cxn>
                <a:cxn ang="0">
                  <a:pos x="420" y="257"/>
                </a:cxn>
                <a:cxn ang="0">
                  <a:pos x="409" y="296"/>
                </a:cxn>
                <a:cxn ang="0">
                  <a:pos x="398" y="337"/>
                </a:cxn>
                <a:cxn ang="0">
                  <a:pos x="387" y="367"/>
                </a:cxn>
                <a:cxn ang="0">
                  <a:pos x="368" y="391"/>
                </a:cxn>
                <a:cxn ang="0">
                  <a:pos x="342" y="411"/>
                </a:cxn>
                <a:cxn ang="0">
                  <a:pos x="309" y="426"/>
                </a:cxn>
                <a:cxn ang="0">
                  <a:pos x="275" y="437"/>
                </a:cxn>
                <a:cxn ang="0">
                  <a:pos x="236" y="445"/>
                </a:cxn>
                <a:cxn ang="0">
                  <a:pos x="158" y="450"/>
                </a:cxn>
                <a:cxn ang="0">
                  <a:pos x="128" y="445"/>
                </a:cxn>
                <a:cxn ang="0">
                  <a:pos x="106" y="437"/>
                </a:cxn>
                <a:cxn ang="0">
                  <a:pos x="91" y="426"/>
                </a:cxn>
                <a:cxn ang="0">
                  <a:pos x="80" y="411"/>
                </a:cxn>
                <a:cxn ang="0">
                  <a:pos x="74" y="393"/>
                </a:cxn>
                <a:cxn ang="0">
                  <a:pos x="71" y="378"/>
                </a:cxn>
                <a:cxn ang="0">
                  <a:pos x="71" y="367"/>
                </a:cxn>
                <a:cxn ang="0">
                  <a:pos x="74" y="359"/>
                </a:cxn>
                <a:cxn ang="0">
                  <a:pos x="74" y="354"/>
                </a:cxn>
                <a:cxn ang="0">
                  <a:pos x="69" y="283"/>
                </a:cxn>
                <a:cxn ang="0">
                  <a:pos x="63" y="218"/>
                </a:cxn>
                <a:cxn ang="0">
                  <a:pos x="52" y="162"/>
                </a:cxn>
                <a:cxn ang="0">
                  <a:pos x="41" y="114"/>
                </a:cxn>
                <a:cxn ang="0">
                  <a:pos x="30" y="73"/>
                </a:cxn>
                <a:cxn ang="0">
                  <a:pos x="9" y="19"/>
                </a:cxn>
                <a:cxn ang="0">
                  <a:pos x="2" y="4"/>
                </a:cxn>
                <a:cxn ang="0">
                  <a:pos x="0" y="0"/>
                </a:cxn>
              </a:cxnLst>
              <a:rect l="0" t="0" r="r" b="b"/>
              <a:pathLst>
                <a:path w="446" h="450">
                  <a:moveTo>
                    <a:pt x="0" y="0"/>
                  </a:moveTo>
                  <a:lnTo>
                    <a:pt x="4" y="2"/>
                  </a:lnTo>
                  <a:lnTo>
                    <a:pt x="9" y="8"/>
                  </a:lnTo>
                  <a:lnTo>
                    <a:pt x="19" y="15"/>
                  </a:lnTo>
                  <a:lnTo>
                    <a:pt x="37" y="23"/>
                  </a:lnTo>
                  <a:lnTo>
                    <a:pt x="58" y="36"/>
                  </a:lnTo>
                  <a:lnTo>
                    <a:pt x="91" y="54"/>
                  </a:lnTo>
                  <a:lnTo>
                    <a:pt x="115" y="65"/>
                  </a:lnTo>
                  <a:lnTo>
                    <a:pt x="147" y="77"/>
                  </a:lnTo>
                  <a:lnTo>
                    <a:pt x="182" y="90"/>
                  </a:lnTo>
                  <a:lnTo>
                    <a:pt x="221" y="106"/>
                  </a:lnTo>
                  <a:lnTo>
                    <a:pt x="260" y="119"/>
                  </a:lnTo>
                  <a:lnTo>
                    <a:pt x="301" y="132"/>
                  </a:lnTo>
                  <a:lnTo>
                    <a:pt x="337" y="145"/>
                  </a:lnTo>
                  <a:lnTo>
                    <a:pt x="372" y="155"/>
                  </a:lnTo>
                  <a:lnTo>
                    <a:pt x="402" y="164"/>
                  </a:lnTo>
                  <a:lnTo>
                    <a:pt x="426" y="171"/>
                  </a:lnTo>
                  <a:lnTo>
                    <a:pt x="441" y="175"/>
                  </a:lnTo>
                  <a:lnTo>
                    <a:pt x="446" y="177"/>
                  </a:lnTo>
                  <a:lnTo>
                    <a:pt x="443" y="183"/>
                  </a:lnTo>
                  <a:lnTo>
                    <a:pt x="437" y="199"/>
                  </a:lnTo>
                  <a:lnTo>
                    <a:pt x="428" y="225"/>
                  </a:lnTo>
                  <a:lnTo>
                    <a:pt x="420" y="257"/>
                  </a:lnTo>
                  <a:lnTo>
                    <a:pt x="409" y="296"/>
                  </a:lnTo>
                  <a:lnTo>
                    <a:pt x="398" y="337"/>
                  </a:lnTo>
                  <a:lnTo>
                    <a:pt x="387" y="367"/>
                  </a:lnTo>
                  <a:lnTo>
                    <a:pt x="368" y="391"/>
                  </a:lnTo>
                  <a:lnTo>
                    <a:pt x="342" y="411"/>
                  </a:lnTo>
                  <a:lnTo>
                    <a:pt x="309" y="426"/>
                  </a:lnTo>
                  <a:lnTo>
                    <a:pt x="275" y="437"/>
                  </a:lnTo>
                  <a:lnTo>
                    <a:pt x="236" y="445"/>
                  </a:lnTo>
                  <a:lnTo>
                    <a:pt x="158" y="450"/>
                  </a:lnTo>
                  <a:lnTo>
                    <a:pt x="128" y="445"/>
                  </a:lnTo>
                  <a:lnTo>
                    <a:pt x="106" y="437"/>
                  </a:lnTo>
                  <a:lnTo>
                    <a:pt x="91" y="426"/>
                  </a:lnTo>
                  <a:lnTo>
                    <a:pt x="80" y="411"/>
                  </a:lnTo>
                  <a:lnTo>
                    <a:pt x="74" y="393"/>
                  </a:lnTo>
                  <a:lnTo>
                    <a:pt x="71" y="378"/>
                  </a:lnTo>
                  <a:lnTo>
                    <a:pt x="71" y="367"/>
                  </a:lnTo>
                  <a:lnTo>
                    <a:pt x="74" y="359"/>
                  </a:lnTo>
                  <a:lnTo>
                    <a:pt x="74" y="354"/>
                  </a:lnTo>
                  <a:lnTo>
                    <a:pt x="69" y="283"/>
                  </a:lnTo>
                  <a:lnTo>
                    <a:pt x="63" y="218"/>
                  </a:lnTo>
                  <a:lnTo>
                    <a:pt x="52" y="162"/>
                  </a:lnTo>
                  <a:lnTo>
                    <a:pt x="41" y="114"/>
                  </a:lnTo>
                  <a:lnTo>
                    <a:pt x="30" y="73"/>
                  </a:lnTo>
                  <a:lnTo>
                    <a:pt x="9" y="19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5"/>
            <p:cNvSpPr>
              <a:spLocks/>
            </p:cNvSpPr>
            <p:nvPr/>
          </p:nvSpPr>
          <p:spPr bwMode="auto">
            <a:xfrm>
              <a:off x="1598613" y="4849813"/>
              <a:ext cx="706438" cy="714375"/>
            </a:xfrm>
            <a:custGeom>
              <a:avLst/>
              <a:gdLst/>
              <a:ahLst/>
              <a:cxnLst>
                <a:cxn ang="0">
                  <a:pos x="445" y="0"/>
                </a:cxn>
                <a:cxn ang="0">
                  <a:pos x="443" y="4"/>
                </a:cxn>
                <a:cxn ang="0">
                  <a:pos x="436" y="19"/>
                </a:cxn>
                <a:cxn ang="0">
                  <a:pos x="415" y="73"/>
                </a:cxn>
                <a:cxn ang="0">
                  <a:pos x="404" y="114"/>
                </a:cxn>
                <a:cxn ang="0">
                  <a:pos x="393" y="162"/>
                </a:cxn>
                <a:cxn ang="0">
                  <a:pos x="382" y="218"/>
                </a:cxn>
                <a:cxn ang="0">
                  <a:pos x="376" y="283"/>
                </a:cxn>
                <a:cxn ang="0">
                  <a:pos x="372" y="354"/>
                </a:cxn>
                <a:cxn ang="0">
                  <a:pos x="372" y="359"/>
                </a:cxn>
                <a:cxn ang="0">
                  <a:pos x="374" y="367"/>
                </a:cxn>
                <a:cxn ang="0">
                  <a:pos x="374" y="378"/>
                </a:cxn>
                <a:cxn ang="0">
                  <a:pos x="372" y="393"/>
                </a:cxn>
                <a:cxn ang="0">
                  <a:pos x="365" y="411"/>
                </a:cxn>
                <a:cxn ang="0">
                  <a:pos x="354" y="426"/>
                </a:cxn>
                <a:cxn ang="0">
                  <a:pos x="339" y="437"/>
                </a:cxn>
                <a:cxn ang="0">
                  <a:pos x="317" y="445"/>
                </a:cxn>
                <a:cxn ang="0">
                  <a:pos x="287" y="450"/>
                </a:cxn>
                <a:cxn ang="0">
                  <a:pos x="209" y="445"/>
                </a:cxn>
                <a:cxn ang="0">
                  <a:pos x="170" y="437"/>
                </a:cxn>
                <a:cxn ang="0">
                  <a:pos x="136" y="426"/>
                </a:cxn>
                <a:cxn ang="0">
                  <a:pos x="103" y="411"/>
                </a:cxn>
                <a:cxn ang="0">
                  <a:pos x="77" y="391"/>
                </a:cxn>
                <a:cxn ang="0">
                  <a:pos x="58" y="367"/>
                </a:cxn>
                <a:cxn ang="0">
                  <a:pos x="47" y="337"/>
                </a:cxn>
                <a:cxn ang="0">
                  <a:pos x="36" y="296"/>
                </a:cxn>
                <a:cxn ang="0">
                  <a:pos x="25" y="257"/>
                </a:cxn>
                <a:cxn ang="0">
                  <a:pos x="17" y="225"/>
                </a:cxn>
                <a:cxn ang="0">
                  <a:pos x="8" y="199"/>
                </a:cxn>
                <a:cxn ang="0">
                  <a:pos x="2" y="183"/>
                </a:cxn>
                <a:cxn ang="0">
                  <a:pos x="0" y="177"/>
                </a:cxn>
                <a:cxn ang="0">
                  <a:pos x="4" y="175"/>
                </a:cxn>
                <a:cxn ang="0">
                  <a:pos x="19" y="171"/>
                </a:cxn>
                <a:cxn ang="0">
                  <a:pos x="43" y="164"/>
                </a:cxn>
                <a:cxn ang="0">
                  <a:pos x="73" y="155"/>
                </a:cxn>
                <a:cxn ang="0">
                  <a:pos x="108" y="145"/>
                </a:cxn>
                <a:cxn ang="0">
                  <a:pos x="144" y="132"/>
                </a:cxn>
                <a:cxn ang="0">
                  <a:pos x="186" y="119"/>
                </a:cxn>
                <a:cxn ang="0">
                  <a:pos x="224" y="106"/>
                </a:cxn>
                <a:cxn ang="0">
                  <a:pos x="263" y="90"/>
                </a:cxn>
                <a:cxn ang="0">
                  <a:pos x="298" y="77"/>
                </a:cxn>
                <a:cxn ang="0">
                  <a:pos x="330" y="65"/>
                </a:cxn>
                <a:cxn ang="0">
                  <a:pos x="354" y="54"/>
                </a:cxn>
                <a:cxn ang="0">
                  <a:pos x="387" y="36"/>
                </a:cxn>
                <a:cxn ang="0">
                  <a:pos x="408" y="23"/>
                </a:cxn>
                <a:cxn ang="0">
                  <a:pos x="426" y="15"/>
                </a:cxn>
                <a:cxn ang="0">
                  <a:pos x="436" y="8"/>
                </a:cxn>
                <a:cxn ang="0">
                  <a:pos x="441" y="2"/>
                </a:cxn>
                <a:cxn ang="0">
                  <a:pos x="445" y="0"/>
                </a:cxn>
              </a:cxnLst>
              <a:rect l="0" t="0" r="r" b="b"/>
              <a:pathLst>
                <a:path w="445" h="450">
                  <a:moveTo>
                    <a:pt x="445" y="0"/>
                  </a:moveTo>
                  <a:lnTo>
                    <a:pt x="443" y="4"/>
                  </a:lnTo>
                  <a:lnTo>
                    <a:pt x="436" y="19"/>
                  </a:lnTo>
                  <a:lnTo>
                    <a:pt x="415" y="73"/>
                  </a:lnTo>
                  <a:lnTo>
                    <a:pt x="404" y="114"/>
                  </a:lnTo>
                  <a:lnTo>
                    <a:pt x="393" y="162"/>
                  </a:lnTo>
                  <a:lnTo>
                    <a:pt x="382" y="218"/>
                  </a:lnTo>
                  <a:lnTo>
                    <a:pt x="376" y="283"/>
                  </a:lnTo>
                  <a:lnTo>
                    <a:pt x="372" y="354"/>
                  </a:lnTo>
                  <a:lnTo>
                    <a:pt x="372" y="359"/>
                  </a:lnTo>
                  <a:lnTo>
                    <a:pt x="374" y="367"/>
                  </a:lnTo>
                  <a:lnTo>
                    <a:pt x="374" y="378"/>
                  </a:lnTo>
                  <a:lnTo>
                    <a:pt x="372" y="393"/>
                  </a:lnTo>
                  <a:lnTo>
                    <a:pt x="365" y="411"/>
                  </a:lnTo>
                  <a:lnTo>
                    <a:pt x="354" y="426"/>
                  </a:lnTo>
                  <a:lnTo>
                    <a:pt x="339" y="437"/>
                  </a:lnTo>
                  <a:lnTo>
                    <a:pt x="317" y="445"/>
                  </a:lnTo>
                  <a:lnTo>
                    <a:pt x="287" y="450"/>
                  </a:lnTo>
                  <a:lnTo>
                    <a:pt x="209" y="445"/>
                  </a:lnTo>
                  <a:lnTo>
                    <a:pt x="170" y="437"/>
                  </a:lnTo>
                  <a:lnTo>
                    <a:pt x="136" y="426"/>
                  </a:lnTo>
                  <a:lnTo>
                    <a:pt x="103" y="411"/>
                  </a:lnTo>
                  <a:lnTo>
                    <a:pt x="77" y="391"/>
                  </a:lnTo>
                  <a:lnTo>
                    <a:pt x="58" y="367"/>
                  </a:lnTo>
                  <a:lnTo>
                    <a:pt x="47" y="337"/>
                  </a:lnTo>
                  <a:lnTo>
                    <a:pt x="36" y="296"/>
                  </a:lnTo>
                  <a:lnTo>
                    <a:pt x="25" y="257"/>
                  </a:lnTo>
                  <a:lnTo>
                    <a:pt x="17" y="225"/>
                  </a:lnTo>
                  <a:lnTo>
                    <a:pt x="8" y="199"/>
                  </a:lnTo>
                  <a:lnTo>
                    <a:pt x="2" y="183"/>
                  </a:lnTo>
                  <a:lnTo>
                    <a:pt x="0" y="177"/>
                  </a:lnTo>
                  <a:lnTo>
                    <a:pt x="4" y="175"/>
                  </a:lnTo>
                  <a:lnTo>
                    <a:pt x="19" y="171"/>
                  </a:lnTo>
                  <a:lnTo>
                    <a:pt x="43" y="164"/>
                  </a:lnTo>
                  <a:lnTo>
                    <a:pt x="73" y="155"/>
                  </a:lnTo>
                  <a:lnTo>
                    <a:pt x="108" y="145"/>
                  </a:lnTo>
                  <a:lnTo>
                    <a:pt x="144" y="132"/>
                  </a:lnTo>
                  <a:lnTo>
                    <a:pt x="186" y="119"/>
                  </a:lnTo>
                  <a:lnTo>
                    <a:pt x="224" y="106"/>
                  </a:lnTo>
                  <a:lnTo>
                    <a:pt x="263" y="90"/>
                  </a:lnTo>
                  <a:lnTo>
                    <a:pt x="298" y="77"/>
                  </a:lnTo>
                  <a:lnTo>
                    <a:pt x="330" y="65"/>
                  </a:lnTo>
                  <a:lnTo>
                    <a:pt x="354" y="54"/>
                  </a:lnTo>
                  <a:lnTo>
                    <a:pt x="387" y="36"/>
                  </a:lnTo>
                  <a:lnTo>
                    <a:pt x="408" y="23"/>
                  </a:lnTo>
                  <a:lnTo>
                    <a:pt x="426" y="15"/>
                  </a:lnTo>
                  <a:lnTo>
                    <a:pt x="436" y="8"/>
                  </a:lnTo>
                  <a:lnTo>
                    <a:pt x="441" y="2"/>
                  </a:lnTo>
                  <a:lnTo>
                    <a:pt x="44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16"/>
            <p:cNvSpPr>
              <a:spLocks/>
            </p:cNvSpPr>
            <p:nvPr/>
          </p:nvSpPr>
          <p:spPr bwMode="auto">
            <a:xfrm>
              <a:off x="1150938" y="4406900"/>
              <a:ext cx="701675" cy="390525"/>
            </a:xfrm>
            <a:custGeom>
              <a:avLst/>
              <a:gdLst/>
              <a:ahLst/>
              <a:cxnLst>
                <a:cxn ang="0">
                  <a:pos x="221" y="0"/>
                </a:cxn>
                <a:cxn ang="0">
                  <a:pos x="271" y="2"/>
                </a:cxn>
                <a:cxn ang="0">
                  <a:pos x="318" y="13"/>
                </a:cxn>
                <a:cxn ang="0">
                  <a:pos x="359" y="26"/>
                </a:cxn>
                <a:cxn ang="0">
                  <a:pos x="392" y="45"/>
                </a:cxn>
                <a:cxn ang="0">
                  <a:pos x="420" y="69"/>
                </a:cxn>
                <a:cxn ang="0">
                  <a:pos x="435" y="95"/>
                </a:cxn>
                <a:cxn ang="0">
                  <a:pos x="442" y="123"/>
                </a:cxn>
                <a:cxn ang="0">
                  <a:pos x="435" y="151"/>
                </a:cxn>
                <a:cxn ang="0">
                  <a:pos x="420" y="177"/>
                </a:cxn>
                <a:cxn ang="0">
                  <a:pos x="392" y="199"/>
                </a:cxn>
                <a:cxn ang="0">
                  <a:pos x="359" y="218"/>
                </a:cxn>
                <a:cxn ang="0">
                  <a:pos x="318" y="233"/>
                </a:cxn>
                <a:cxn ang="0">
                  <a:pos x="271" y="242"/>
                </a:cxn>
                <a:cxn ang="0">
                  <a:pos x="221" y="246"/>
                </a:cxn>
                <a:cxn ang="0">
                  <a:pos x="171" y="242"/>
                </a:cxn>
                <a:cxn ang="0">
                  <a:pos x="124" y="233"/>
                </a:cxn>
                <a:cxn ang="0">
                  <a:pos x="83" y="218"/>
                </a:cxn>
                <a:cxn ang="0">
                  <a:pos x="50" y="199"/>
                </a:cxn>
                <a:cxn ang="0">
                  <a:pos x="22" y="177"/>
                </a:cxn>
                <a:cxn ang="0">
                  <a:pos x="7" y="151"/>
                </a:cxn>
                <a:cxn ang="0">
                  <a:pos x="0" y="123"/>
                </a:cxn>
                <a:cxn ang="0">
                  <a:pos x="7" y="95"/>
                </a:cxn>
                <a:cxn ang="0">
                  <a:pos x="22" y="69"/>
                </a:cxn>
                <a:cxn ang="0">
                  <a:pos x="50" y="45"/>
                </a:cxn>
                <a:cxn ang="0">
                  <a:pos x="83" y="26"/>
                </a:cxn>
                <a:cxn ang="0">
                  <a:pos x="124" y="13"/>
                </a:cxn>
                <a:cxn ang="0">
                  <a:pos x="171" y="2"/>
                </a:cxn>
                <a:cxn ang="0">
                  <a:pos x="221" y="0"/>
                </a:cxn>
              </a:cxnLst>
              <a:rect l="0" t="0" r="r" b="b"/>
              <a:pathLst>
                <a:path w="442" h="246">
                  <a:moveTo>
                    <a:pt x="221" y="0"/>
                  </a:moveTo>
                  <a:lnTo>
                    <a:pt x="271" y="2"/>
                  </a:lnTo>
                  <a:lnTo>
                    <a:pt x="318" y="13"/>
                  </a:lnTo>
                  <a:lnTo>
                    <a:pt x="359" y="26"/>
                  </a:lnTo>
                  <a:lnTo>
                    <a:pt x="392" y="45"/>
                  </a:lnTo>
                  <a:lnTo>
                    <a:pt x="420" y="69"/>
                  </a:lnTo>
                  <a:lnTo>
                    <a:pt x="435" y="95"/>
                  </a:lnTo>
                  <a:lnTo>
                    <a:pt x="442" y="123"/>
                  </a:lnTo>
                  <a:lnTo>
                    <a:pt x="435" y="151"/>
                  </a:lnTo>
                  <a:lnTo>
                    <a:pt x="420" y="177"/>
                  </a:lnTo>
                  <a:lnTo>
                    <a:pt x="392" y="199"/>
                  </a:lnTo>
                  <a:lnTo>
                    <a:pt x="359" y="218"/>
                  </a:lnTo>
                  <a:lnTo>
                    <a:pt x="318" y="233"/>
                  </a:lnTo>
                  <a:lnTo>
                    <a:pt x="271" y="242"/>
                  </a:lnTo>
                  <a:lnTo>
                    <a:pt x="221" y="246"/>
                  </a:lnTo>
                  <a:lnTo>
                    <a:pt x="171" y="242"/>
                  </a:lnTo>
                  <a:lnTo>
                    <a:pt x="124" y="233"/>
                  </a:lnTo>
                  <a:lnTo>
                    <a:pt x="83" y="218"/>
                  </a:lnTo>
                  <a:lnTo>
                    <a:pt x="50" y="199"/>
                  </a:lnTo>
                  <a:lnTo>
                    <a:pt x="22" y="177"/>
                  </a:lnTo>
                  <a:lnTo>
                    <a:pt x="7" y="151"/>
                  </a:lnTo>
                  <a:lnTo>
                    <a:pt x="0" y="123"/>
                  </a:lnTo>
                  <a:lnTo>
                    <a:pt x="7" y="95"/>
                  </a:lnTo>
                  <a:lnTo>
                    <a:pt x="22" y="69"/>
                  </a:lnTo>
                  <a:lnTo>
                    <a:pt x="50" y="45"/>
                  </a:lnTo>
                  <a:lnTo>
                    <a:pt x="83" y="26"/>
                  </a:lnTo>
                  <a:lnTo>
                    <a:pt x="124" y="13"/>
                  </a:lnTo>
                  <a:lnTo>
                    <a:pt x="171" y="2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1301751" y="4513263"/>
              <a:ext cx="134938" cy="177800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9" y="4"/>
                </a:cxn>
                <a:cxn ang="0">
                  <a:pos x="72" y="15"/>
                </a:cxn>
                <a:cxn ang="0">
                  <a:pos x="81" y="34"/>
                </a:cxn>
                <a:cxn ang="0">
                  <a:pos x="85" y="56"/>
                </a:cxn>
                <a:cxn ang="0">
                  <a:pos x="81" y="77"/>
                </a:cxn>
                <a:cxn ang="0">
                  <a:pos x="72" y="95"/>
                </a:cxn>
                <a:cxn ang="0">
                  <a:pos x="59" y="108"/>
                </a:cxn>
                <a:cxn ang="0">
                  <a:pos x="44" y="112"/>
                </a:cxn>
                <a:cxn ang="0">
                  <a:pos x="26" y="108"/>
                </a:cxn>
                <a:cxn ang="0">
                  <a:pos x="13" y="95"/>
                </a:cxn>
                <a:cxn ang="0">
                  <a:pos x="5" y="77"/>
                </a:cxn>
                <a:cxn ang="0">
                  <a:pos x="0" y="56"/>
                </a:cxn>
                <a:cxn ang="0">
                  <a:pos x="5" y="34"/>
                </a:cxn>
                <a:cxn ang="0">
                  <a:pos x="13" y="15"/>
                </a:cxn>
                <a:cxn ang="0">
                  <a:pos x="26" y="4"/>
                </a:cxn>
                <a:cxn ang="0">
                  <a:pos x="44" y="0"/>
                </a:cxn>
              </a:cxnLst>
              <a:rect l="0" t="0" r="r" b="b"/>
              <a:pathLst>
                <a:path w="85" h="112">
                  <a:moveTo>
                    <a:pt x="44" y="0"/>
                  </a:moveTo>
                  <a:lnTo>
                    <a:pt x="59" y="4"/>
                  </a:lnTo>
                  <a:lnTo>
                    <a:pt x="72" y="15"/>
                  </a:lnTo>
                  <a:lnTo>
                    <a:pt x="81" y="34"/>
                  </a:lnTo>
                  <a:lnTo>
                    <a:pt x="85" y="56"/>
                  </a:lnTo>
                  <a:lnTo>
                    <a:pt x="81" y="77"/>
                  </a:lnTo>
                  <a:lnTo>
                    <a:pt x="72" y="95"/>
                  </a:lnTo>
                  <a:lnTo>
                    <a:pt x="59" y="108"/>
                  </a:lnTo>
                  <a:lnTo>
                    <a:pt x="44" y="112"/>
                  </a:lnTo>
                  <a:lnTo>
                    <a:pt x="26" y="108"/>
                  </a:lnTo>
                  <a:lnTo>
                    <a:pt x="13" y="95"/>
                  </a:lnTo>
                  <a:lnTo>
                    <a:pt x="5" y="77"/>
                  </a:lnTo>
                  <a:lnTo>
                    <a:pt x="0" y="56"/>
                  </a:lnTo>
                  <a:lnTo>
                    <a:pt x="5" y="34"/>
                  </a:lnTo>
                  <a:lnTo>
                    <a:pt x="13" y="15"/>
                  </a:lnTo>
                  <a:lnTo>
                    <a:pt x="26" y="4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20"/>
            <p:cNvSpPr>
              <a:spLocks/>
            </p:cNvSpPr>
            <p:nvPr/>
          </p:nvSpPr>
          <p:spPr bwMode="auto">
            <a:xfrm>
              <a:off x="1566863" y="4513263"/>
              <a:ext cx="130175" cy="177800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58" y="4"/>
                </a:cxn>
                <a:cxn ang="0">
                  <a:pos x="71" y="15"/>
                </a:cxn>
                <a:cxn ang="0">
                  <a:pos x="80" y="34"/>
                </a:cxn>
                <a:cxn ang="0">
                  <a:pos x="82" y="56"/>
                </a:cxn>
                <a:cxn ang="0">
                  <a:pos x="80" y="77"/>
                </a:cxn>
                <a:cxn ang="0">
                  <a:pos x="71" y="95"/>
                </a:cxn>
                <a:cxn ang="0">
                  <a:pos x="58" y="108"/>
                </a:cxn>
                <a:cxn ang="0">
                  <a:pos x="41" y="112"/>
                </a:cxn>
                <a:cxn ang="0">
                  <a:pos x="26" y="108"/>
                </a:cxn>
                <a:cxn ang="0">
                  <a:pos x="13" y="95"/>
                </a:cxn>
                <a:cxn ang="0">
                  <a:pos x="4" y="77"/>
                </a:cxn>
                <a:cxn ang="0">
                  <a:pos x="0" y="56"/>
                </a:cxn>
                <a:cxn ang="0">
                  <a:pos x="4" y="34"/>
                </a:cxn>
                <a:cxn ang="0">
                  <a:pos x="13" y="15"/>
                </a:cxn>
                <a:cxn ang="0">
                  <a:pos x="26" y="4"/>
                </a:cxn>
                <a:cxn ang="0">
                  <a:pos x="41" y="0"/>
                </a:cxn>
              </a:cxnLst>
              <a:rect l="0" t="0" r="r" b="b"/>
              <a:pathLst>
                <a:path w="82" h="112">
                  <a:moveTo>
                    <a:pt x="41" y="0"/>
                  </a:moveTo>
                  <a:lnTo>
                    <a:pt x="58" y="4"/>
                  </a:lnTo>
                  <a:lnTo>
                    <a:pt x="71" y="15"/>
                  </a:lnTo>
                  <a:lnTo>
                    <a:pt x="80" y="34"/>
                  </a:lnTo>
                  <a:lnTo>
                    <a:pt x="82" y="56"/>
                  </a:lnTo>
                  <a:lnTo>
                    <a:pt x="80" y="77"/>
                  </a:lnTo>
                  <a:lnTo>
                    <a:pt x="71" y="95"/>
                  </a:lnTo>
                  <a:lnTo>
                    <a:pt x="58" y="108"/>
                  </a:lnTo>
                  <a:lnTo>
                    <a:pt x="41" y="112"/>
                  </a:lnTo>
                  <a:lnTo>
                    <a:pt x="26" y="108"/>
                  </a:lnTo>
                  <a:lnTo>
                    <a:pt x="13" y="95"/>
                  </a:lnTo>
                  <a:lnTo>
                    <a:pt x="4" y="77"/>
                  </a:lnTo>
                  <a:lnTo>
                    <a:pt x="0" y="56"/>
                  </a:lnTo>
                  <a:lnTo>
                    <a:pt x="4" y="34"/>
                  </a:lnTo>
                  <a:lnTo>
                    <a:pt x="13" y="15"/>
                  </a:lnTo>
                  <a:lnTo>
                    <a:pt x="26" y="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21"/>
            <p:cNvSpPr>
              <a:spLocks/>
            </p:cNvSpPr>
            <p:nvPr/>
          </p:nvSpPr>
          <p:spPr bwMode="auto">
            <a:xfrm>
              <a:off x="1079501" y="3852863"/>
              <a:ext cx="123825" cy="141288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8" y="7"/>
                </a:cxn>
                <a:cxn ang="0">
                  <a:pos x="73" y="22"/>
                </a:cxn>
                <a:cxn ang="0">
                  <a:pos x="78" y="44"/>
                </a:cxn>
                <a:cxn ang="0">
                  <a:pos x="73" y="67"/>
                </a:cxn>
                <a:cxn ang="0">
                  <a:pos x="58" y="82"/>
                </a:cxn>
                <a:cxn ang="0">
                  <a:pos x="39" y="89"/>
                </a:cxn>
                <a:cxn ang="0">
                  <a:pos x="19" y="82"/>
                </a:cxn>
                <a:cxn ang="0">
                  <a:pos x="4" y="67"/>
                </a:cxn>
                <a:cxn ang="0">
                  <a:pos x="0" y="44"/>
                </a:cxn>
                <a:cxn ang="0">
                  <a:pos x="4" y="22"/>
                </a:cxn>
                <a:cxn ang="0">
                  <a:pos x="19" y="7"/>
                </a:cxn>
                <a:cxn ang="0">
                  <a:pos x="39" y="0"/>
                </a:cxn>
              </a:cxnLst>
              <a:rect l="0" t="0" r="r" b="b"/>
              <a:pathLst>
                <a:path w="78" h="89">
                  <a:moveTo>
                    <a:pt x="39" y="0"/>
                  </a:moveTo>
                  <a:lnTo>
                    <a:pt x="58" y="7"/>
                  </a:lnTo>
                  <a:lnTo>
                    <a:pt x="73" y="22"/>
                  </a:lnTo>
                  <a:lnTo>
                    <a:pt x="78" y="44"/>
                  </a:lnTo>
                  <a:lnTo>
                    <a:pt x="73" y="67"/>
                  </a:lnTo>
                  <a:lnTo>
                    <a:pt x="58" y="82"/>
                  </a:lnTo>
                  <a:lnTo>
                    <a:pt x="39" y="89"/>
                  </a:lnTo>
                  <a:lnTo>
                    <a:pt x="19" y="82"/>
                  </a:lnTo>
                  <a:lnTo>
                    <a:pt x="4" y="67"/>
                  </a:lnTo>
                  <a:lnTo>
                    <a:pt x="0" y="44"/>
                  </a:lnTo>
                  <a:lnTo>
                    <a:pt x="4" y="22"/>
                  </a:lnTo>
                  <a:lnTo>
                    <a:pt x="19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22"/>
            <p:cNvSpPr>
              <a:spLocks/>
            </p:cNvSpPr>
            <p:nvPr/>
          </p:nvSpPr>
          <p:spPr bwMode="auto">
            <a:xfrm>
              <a:off x="1800226" y="3852863"/>
              <a:ext cx="123825" cy="141288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9" y="7"/>
                </a:cxn>
                <a:cxn ang="0">
                  <a:pos x="74" y="22"/>
                </a:cxn>
                <a:cxn ang="0">
                  <a:pos x="78" y="44"/>
                </a:cxn>
                <a:cxn ang="0">
                  <a:pos x="74" y="67"/>
                </a:cxn>
                <a:cxn ang="0">
                  <a:pos x="59" y="82"/>
                </a:cxn>
                <a:cxn ang="0">
                  <a:pos x="39" y="89"/>
                </a:cxn>
                <a:cxn ang="0">
                  <a:pos x="20" y="82"/>
                </a:cxn>
                <a:cxn ang="0">
                  <a:pos x="4" y="67"/>
                </a:cxn>
                <a:cxn ang="0">
                  <a:pos x="0" y="44"/>
                </a:cxn>
                <a:cxn ang="0">
                  <a:pos x="4" y="22"/>
                </a:cxn>
                <a:cxn ang="0">
                  <a:pos x="20" y="7"/>
                </a:cxn>
                <a:cxn ang="0">
                  <a:pos x="39" y="0"/>
                </a:cxn>
              </a:cxnLst>
              <a:rect l="0" t="0" r="r" b="b"/>
              <a:pathLst>
                <a:path w="78" h="89">
                  <a:moveTo>
                    <a:pt x="39" y="0"/>
                  </a:moveTo>
                  <a:lnTo>
                    <a:pt x="59" y="7"/>
                  </a:lnTo>
                  <a:lnTo>
                    <a:pt x="74" y="22"/>
                  </a:lnTo>
                  <a:lnTo>
                    <a:pt x="78" y="44"/>
                  </a:lnTo>
                  <a:lnTo>
                    <a:pt x="74" y="67"/>
                  </a:lnTo>
                  <a:lnTo>
                    <a:pt x="59" y="82"/>
                  </a:lnTo>
                  <a:lnTo>
                    <a:pt x="39" y="89"/>
                  </a:lnTo>
                  <a:lnTo>
                    <a:pt x="20" y="82"/>
                  </a:lnTo>
                  <a:lnTo>
                    <a:pt x="4" y="67"/>
                  </a:lnTo>
                  <a:lnTo>
                    <a:pt x="0" y="44"/>
                  </a:lnTo>
                  <a:lnTo>
                    <a:pt x="4" y="22"/>
                  </a:lnTo>
                  <a:lnTo>
                    <a:pt x="20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" name="Freeform 1"/>
          <p:cNvSpPr/>
          <p:nvPr/>
        </p:nvSpPr>
        <p:spPr>
          <a:xfrm>
            <a:off x="9008965" y="-36748"/>
            <a:ext cx="3187516" cy="2356951"/>
          </a:xfrm>
          <a:custGeom>
            <a:avLst/>
            <a:gdLst>
              <a:gd name="connsiteX0" fmla="*/ 274065 w 3617414"/>
              <a:gd name="connsiteY0" fmla="*/ 1543940 h 2601250"/>
              <a:gd name="connsiteX1" fmla="*/ 1995288 w 3617414"/>
              <a:gd name="connsiteY1" fmla="*/ 199234 h 2601250"/>
              <a:gd name="connsiteX2" fmla="*/ 3375853 w 3617414"/>
              <a:gd name="connsiteY2" fmla="*/ 55799 h 2601250"/>
              <a:gd name="connsiteX3" fmla="*/ 3304135 w 3617414"/>
              <a:gd name="connsiteY3" fmla="*/ 683328 h 2601250"/>
              <a:gd name="connsiteX4" fmla="*/ 291994 w 3617414"/>
              <a:gd name="connsiteY4" fmla="*/ 2512128 h 2601250"/>
              <a:gd name="connsiteX5" fmla="*/ 112700 w 3617414"/>
              <a:gd name="connsiteY5" fmla="*/ 2243187 h 2601250"/>
              <a:gd name="connsiteX6" fmla="*/ 256135 w 3617414"/>
              <a:gd name="connsiteY6" fmla="*/ 1597728 h 2601250"/>
              <a:gd name="connsiteX0" fmla="*/ 264049 w 3525490"/>
              <a:gd name="connsiteY0" fmla="*/ 1551691 h 2601516"/>
              <a:gd name="connsiteX1" fmla="*/ 1985272 w 3525490"/>
              <a:gd name="connsiteY1" fmla="*/ 206985 h 2601516"/>
              <a:gd name="connsiteX2" fmla="*/ 3365837 w 3525490"/>
              <a:gd name="connsiteY2" fmla="*/ 63550 h 2601516"/>
              <a:gd name="connsiteX3" fmla="*/ 3150684 w 3525490"/>
              <a:gd name="connsiteY3" fmla="*/ 798655 h 2601516"/>
              <a:gd name="connsiteX4" fmla="*/ 281978 w 3525490"/>
              <a:gd name="connsiteY4" fmla="*/ 2519879 h 2601516"/>
              <a:gd name="connsiteX5" fmla="*/ 102684 w 3525490"/>
              <a:gd name="connsiteY5" fmla="*/ 2250938 h 2601516"/>
              <a:gd name="connsiteX6" fmla="*/ 246119 w 3525490"/>
              <a:gd name="connsiteY6" fmla="*/ 1605479 h 2601516"/>
              <a:gd name="connsiteX0" fmla="*/ 264049 w 3446220"/>
              <a:gd name="connsiteY0" fmla="*/ 1506082 h 2555907"/>
              <a:gd name="connsiteX1" fmla="*/ 1985272 w 3446220"/>
              <a:gd name="connsiteY1" fmla="*/ 161376 h 2555907"/>
              <a:gd name="connsiteX2" fmla="*/ 3222401 w 3446220"/>
              <a:gd name="connsiteY2" fmla="*/ 89658 h 2555907"/>
              <a:gd name="connsiteX3" fmla="*/ 3150684 w 3446220"/>
              <a:gd name="connsiteY3" fmla="*/ 753046 h 2555907"/>
              <a:gd name="connsiteX4" fmla="*/ 281978 w 3446220"/>
              <a:gd name="connsiteY4" fmla="*/ 2474270 h 2555907"/>
              <a:gd name="connsiteX5" fmla="*/ 102684 w 3446220"/>
              <a:gd name="connsiteY5" fmla="*/ 2205329 h 2555907"/>
              <a:gd name="connsiteX6" fmla="*/ 246119 w 3446220"/>
              <a:gd name="connsiteY6" fmla="*/ 1559870 h 2555907"/>
              <a:gd name="connsiteX0" fmla="*/ 264049 w 3222401"/>
              <a:gd name="connsiteY0" fmla="*/ 1506082 h 2555907"/>
              <a:gd name="connsiteX1" fmla="*/ 1985272 w 3222401"/>
              <a:gd name="connsiteY1" fmla="*/ 161376 h 2555907"/>
              <a:gd name="connsiteX2" fmla="*/ 3222401 w 3222401"/>
              <a:gd name="connsiteY2" fmla="*/ 89658 h 2555907"/>
              <a:gd name="connsiteX3" fmla="*/ 3150684 w 3222401"/>
              <a:gd name="connsiteY3" fmla="*/ 753046 h 2555907"/>
              <a:gd name="connsiteX4" fmla="*/ 281978 w 3222401"/>
              <a:gd name="connsiteY4" fmla="*/ 2474270 h 2555907"/>
              <a:gd name="connsiteX5" fmla="*/ 102684 w 3222401"/>
              <a:gd name="connsiteY5" fmla="*/ 2205329 h 2555907"/>
              <a:gd name="connsiteX6" fmla="*/ 246119 w 3222401"/>
              <a:gd name="connsiteY6" fmla="*/ 1559870 h 2555907"/>
              <a:gd name="connsiteX0" fmla="*/ 264049 w 3222401"/>
              <a:gd name="connsiteY0" fmla="*/ 1416424 h 2466249"/>
              <a:gd name="connsiteX1" fmla="*/ 1985272 w 3222401"/>
              <a:gd name="connsiteY1" fmla="*/ 71718 h 2466249"/>
              <a:gd name="connsiteX2" fmla="*/ 3222401 w 3222401"/>
              <a:gd name="connsiteY2" fmla="*/ 0 h 2466249"/>
              <a:gd name="connsiteX3" fmla="*/ 3150684 w 3222401"/>
              <a:gd name="connsiteY3" fmla="*/ 663388 h 2466249"/>
              <a:gd name="connsiteX4" fmla="*/ 281978 w 3222401"/>
              <a:gd name="connsiteY4" fmla="*/ 2384612 h 2466249"/>
              <a:gd name="connsiteX5" fmla="*/ 102684 w 3222401"/>
              <a:gd name="connsiteY5" fmla="*/ 2115671 h 2466249"/>
              <a:gd name="connsiteX6" fmla="*/ 246119 w 3222401"/>
              <a:gd name="connsiteY6" fmla="*/ 1470212 h 2466249"/>
              <a:gd name="connsiteX0" fmla="*/ 264049 w 3300739"/>
              <a:gd name="connsiteY0" fmla="*/ 1447883 h 2497708"/>
              <a:gd name="connsiteX1" fmla="*/ 1938207 w 3300739"/>
              <a:gd name="connsiteY1" fmla="*/ 116624 h 2497708"/>
              <a:gd name="connsiteX2" fmla="*/ 3222401 w 3300739"/>
              <a:gd name="connsiteY2" fmla="*/ 31459 h 2497708"/>
              <a:gd name="connsiteX3" fmla="*/ 3150684 w 3300739"/>
              <a:gd name="connsiteY3" fmla="*/ 694847 h 2497708"/>
              <a:gd name="connsiteX4" fmla="*/ 281978 w 3300739"/>
              <a:gd name="connsiteY4" fmla="*/ 2416071 h 2497708"/>
              <a:gd name="connsiteX5" fmla="*/ 102684 w 3300739"/>
              <a:gd name="connsiteY5" fmla="*/ 2147130 h 2497708"/>
              <a:gd name="connsiteX6" fmla="*/ 246119 w 3300739"/>
              <a:gd name="connsiteY6" fmla="*/ 1501671 h 2497708"/>
              <a:gd name="connsiteX0" fmla="*/ 264049 w 3351412"/>
              <a:gd name="connsiteY0" fmla="*/ 1383579 h 2433404"/>
              <a:gd name="connsiteX1" fmla="*/ 1938207 w 3351412"/>
              <a:gd name="connsiteY1" fmla="*/ 52320 h 2433404"/>
              <a:gd name="connsiteX2" fmla="*/ 2980354 w 3351412"/>
              <a:gd name="connsiteY2" fmla="*/ 303332 h 2433404"/>
              <a:gd name="connsiteX3" fmla="*/ 3150684 w 3351412"/>
              <a:gd name="connsiteY3" fmla="*/ 630543 h 2433404"/>
              <a:gd name="connsiteX4" fmla="*/ 281978 w 3351412"/>
              <a:gd name="connsiteY4" fmla="*/ 2351767 h 2433404"/>
              <a:gd name="connsiteX5" fmla="*/ 102684 w 3351412"/>
              <a:gd name="connsiteY5" fmla="*/ 2082826 h 2433404"/>
              <a:gd name="connsiteX6" fmla="*/ 246119 w 3351412"/>
              <a:gd name="connsiteY6" fmla="*/ 1437367 h 2433404"/>
              <a:gd name="connsiteX0" fmla="*/ 264049 w 3429588"/>
              <a:gd name="connsiteY0" fmla="*/ 1442824 h 2492649"/>
              <a:gd name="connsiteX1" fmla="*/ 1938207 w 3429588"/>
              <a:gd name="connsiteY1" fmla="*/ 111565 h 2492649"/>
              <a:gd name="connsiteX2" fmla="*/ 3182060 w 3429588"/>
              <a:gd name="connsiteY2" fmla="*/ 140701 h 2492649"/>
              <a:gd name="connsiteX3" fmla="*/ 3150684 w 3429588"/>
              <a:gd name="connsiteY3" fmla="*/ 689788 h 2492649"/>
              <a:gd name="connsiteX4" fmla="*/ 281978 w 3429588"/>
              <a:gd name="connsiteY4" fmla="*/ 2411012 h 2492649"/>
              <a:gd name="connsiteX5" fmla="*/ 102684 w 3429588"/>
              <a:gd name="connsiteY5" fmla="*/ 2142071 h 2492649"/>
              <a:gd name="connsiteX6" fmla="*/ 246119 w 3429588"/>
              <a:gd name="connsiteY6" fmla="*/ 1496612 h 2492649"/>
              <a:gd name="connsiteX0" fmla="*/ 264049 w 3429588"/>
              <a:gd name="connsiteY0" fmla="*/ 1331259 h 2381084"/>
              <a:gd name="connsiteX1" fmla="*/ 1938207 w 3429588"/>
              <a:gd name="connsiteY1" fmla="*/ 0 h 2381084"/>
              <a:gd name="connsiteX2" fmla="*/ 3182060 w 3429588"/>
              <a:gd name="connsiteY2" fmla="*/ 29136 h 2381084"/>
              <a:gd name="connsiteX3" fmla="*/ 3150684 w 3429588"/>
              <a:gd name="connsiteY3" fmla="*/ 578223 h 2381084"/>
              <a:gd name="connsiteX4" fmla="*/ 281978 w 3429588"/>
              <a:gd name="connsiteY4" fmla="*/ 2299447 h 2381084"/>
              <a:gd name="connsiteX5" fmla="*/ 102684 w 3429588"/>
              <a:gd name="connsiteY5" fmla="*/ 2030506 h 2381084"/>
              <a:gd name="connsiteX6" fmla="*/ 246119 w 3429588"/>
              <a:gd name="connsiteY6" fmla="*/ 1385047 h 2381084"/>
              <a:gd name="connsiteX0" fmla="*/ 266859 w 3459656"/>
              <a:gd name="connsiteY0" fmla="*/ 1351219 h 2401044"/>
              <a:gd name="connsiteX1" fmla="*/ 1941017 w 3459656"/>
              <a:gd name="connsiteY1" fmla="*/ 19960 h 2401044"/>
              <a:gd name="connsiteX2" fmla="*/ 3184870 w 3459656"/>
              <a:gd name="connsiteY2" fmla="*/ 49096 h 2401044"/>
              <a:gd name="connsiteX3" fmla="*/ 3193835 w 3459656"/>
              <a:gd name="connsiteY3" fmla="*/ 598183 h 2401044"/>
              <a:gd name="connsiteX4" fmla="*/ 284788 w 3459656"/>
              <a:gd name="connsiteY4" fmla="*/ 2319407 h 2401044"/>
              <a:gd name="connsiteX5" fmla="*/ 105494 w 3459656"/>
              <a:gd name="connsiteY5" fmla="*/ 2050466 h 2401044"/>
              <a:gd name="connsiteX6" fmla="*/ 248929 w 3459656"/>
              <a:gd name="connsiteY6" fmla="*/ 1405007 h 2401044"/>
              <a:gd name="connsiteX0" fmla="*/ 266859 w 3193835"/>
              <a:gd name="connsiteY0" fmla="*/ 1351219 h 2401044"/>
              <a:gd name="connsiteX1" fmla="*/ 1941017 w 3193835"/>
              <a:gd name="connsiteY1" fmla="*/ 19960 h 2401044"/>
              <a:gd name="connsiteX2" fmla="*/ 3184870 w 3193835"/>
              <a:gd name="connsiteY2" fmla="*/ 49096 h 2401044"/>
              <a:gd name="connsiteX3" fmla="*/ 3193835 w 3193835"/>
              <a:gd name="connsiteY3" fmla="*/ 598183 h 2401044"/>
              <a:gd name="connsiteX4" fmla="*/ 284788 w 3193835"/>
              <a:gd name="connsiteY4" fmla="*/ 2319407 h 2401044"/>
              <a:gd name="connsiteX5" fmla="*/ 105494 w 3193835"/>
              <a:gd name="connsiteY5" fmla="*/ 2050466 h 2401044"/>
              <a:gd name="connsiteX6" fmla="*/ 248929 w 3193835"/>
              <a:gd name="connsiteY6" fmla="*/ 1405007 h 2401044"/>
              <a:gd name="connsiteX0" fmla="*/ 266859 w 3193835"/>
              <a:gd name="connsiteY0" fmla="*/ 1331259 h 2381084"/>
              <a:gd name="connsiteX1" fmla="*/ 1941017 w 3193835"/>
              <a:gd name="connsiteY1" fmla="*/ 0 h 2381084"/>
              <a:gd name="connsiteX2" fmla="*/ 3184870 w 3193835"/>
              <a:gd name="connsiteY2" fmla="*/ 29136 h 2381084"/>
              <a:gd name="connsiteX3" fmla="*/ 3193835 w 3193835"/>
              <a:gd name="connsiteY3" fmla="*/ 578223 h 2381084"/>
              <a:gd name="connsiteX4" fmla="*/ 284788 w 3193835"/>
              <a:gd name="connsiteY4" fmla="*/ 2299447 h 2381084"/>
              <a:gd name="connsiteX5" fmla="*/ 105494 w 3193835"/>
              <a:gd name="connsiteY5" fmla="*/ 2030506 h 2381084"/>
              <a:gd name="connsiteX6" fmla="*/ 248929 w 3193835"/>
              <a:gd name="connsiteY6" fmla="*/ 1385047 h 2381084"/>
              <a:gd name="connsiteX0" fmla="*/ 266859 w 3275879"/>
              <a:gd name="connsiteY0" fmla="*/ 1349105 h 2398930"/>
              <a:gd name="connsiteX1" fmla="*/ 1988082 w 3275879"/>
              <a:gd name="connsiteY1" fmla="*/ 24570 h 2398930"/>
              <a:gd name="connsiteX2" fmla="*/ 3184870 w 3275879"/>
              <a:gd name="connsiteY2" fmla="*/ 46982 h 2398930"/>
              <a:gd name="connsiteX3" fmla="*/ 3193835 w 3275879"/>
              <a:gd name="connsiteY3" fmla="*/ 596069 h 2398930"/>
              <a:gd name="connsiteX4" fmla="*/ 284788 w 3275879"/>
              <a:gd name="connsiteY4" fmla="*/ 2317293 h 2398930"/>
              <a:gd name="connsiteX5" fmla="*/ 105494 w 3275879"/>
              <a:gd name="connsiteY5" fmla="*/ 2048352 h 2398930"/>
              <a:gd name="connsiteX6" fmla="*/ 248929 w 3275879"/>
              <a:gd name="connsiteY6" fmla="*/ 1402893 h 2398930"/>
              <a:gd name="connsiteX0" fmla="*/ 266859 w 3273888"/>
              <a:gd name="connsiteY0" fmla="*/ 1344144 h 2393969"/>
              <a:gd name="connsiteX1" fmla="*/ 2014976 w 3273888"/>
              <a:gd name="connsiteY1" fmla="*/ 33056 h 2393969"/>
              <a:gd name="connsiteX2" fmla="*/ 3184870 w 3273888"/>
              <a:gd name="connsiteY2" fmla="*/ 42021 h 2393969"/>
              <a:gd name="connsiteX3" fmla="*/ 3193835 w 3273888"/>
              <a:gd name="connsiteY3" fmla="*/ 591108 h 2393969"/>
              <a:gd name="connsiteX4" fmla="*/ 284788 w 3273888"/>
              <a:gd name="connsiteY4" fmla="*/ 2312332 h 2393969"/>
              <a:gd name="connsiteX5" fmla="*/ 105494 w 3273888"/>
              <a:gd name="connsiteY5" fmla="*/ 2043391 h 2393969"/>
              <a:gd name="connsiteX6" fmla="*/ 248929 w 3273888"/>
              <a:gd name="connsiteY6" fmla="*/ 1397932 h 2393969"/>
              <a:gd name="connsiteX0" fmla="*/ 266859 w 3273888"/>
              <a:gd name="connsiteY0" fmla="*/ 1311088 h 2360913"/>
              <a:gd name="connsiteX1" fmla="*/ 2014976 w 3273888"/>
              <a:gd name="connsiteY1" fmla="*/ 0 h 2360913"/>
              <a:gd name="connsiteX2" fmla="*/ 3184870 w 3273888"/>
              <a:gd name="connsiteY2" fmla="*/ 8965 h 2360913"/>
              <a:gd name="connsiteX3" fmla="*/ 3193835 w 3273888"/>
              <a:gd name="connsiteY3" fmla="*/ 558052 h 2360913"/>
              <a:gd name="connsiteX4" fmla="*/ 284788 w 3273888"/>
              <a:gd name="connsiteY4" fmla="*/ 2279276 h 2360913"/>
              <a:gd name="connsiteX5" fmla="*/ 105494 w 3273888"/>
              <a:gd name="connsiteY5" fmla="*/ 2010335 h 2360913"/>
              <a:gd name="connsiteX6" fmla="*/ 248929 w 3273888"/>
              <a:gd name="connsiteY6" fmla="*/ 1364876 h 2360913"/>
              <a:gd name="connsiteX0" fmla="*/ 266859 w 3193835"/>
              <a:gd name="connsiteY0" fmla="*/ 1311088 h 2360913"/>
              <a:gd name="connsiteX1" fmla="*/ 2014976 w 3193835"/>
              <a:gd name="connsiteY1" fmla="*/ 0 h 2360913"/>
              <a:gd name="connsiteX2" fmla="*/ 3184870 w 3193835"/>
              <a:gd name="connsiteY2" fmla="*/ 8965 h 2360913"/>
              <a:gd name="connsiteX3" fmla="*/ 3193835 w 3193835"/>
              <a:gd name="connsiteY3" fmla="*/ 558052 h 2360913"/>
              <a:gd name="connsiteX4" fmla="*/ 284788 w 3193835"/>
              <a:gd name="connsiteY4" fmla="*/ 2279276 h 2360913"/>
              <a:gd name="connsiteX5" fmla="*/ 105494 w 3193835"/>
              <a:gd name="connsiteY5" fmla="*/ 2010335 h 2360913"/>
              <a:gd name="connsiteX6" fmla="*/ 248929 w 3193835"/>
              <a:gd name="connsiteY6" fmla="*/ 1364876 h 2360913"/>
              <a:gd name="connsiteX0" fmla="*/ 266859 w 3193835"/>
              <a:gd name="connsiteY0" fmla="*/ 1311088 h 2360913"/>
              <a:gd name="connsiteX1" fmla="*/ 2014976 w 3193835"/>
              <a:gd name="connsiteY1" fmla="*/ 0 h 2360913"/>
              <a:gd name="connsiteX2" fmla="*/ 3184870 w 3193835"/>
              <a:gd name="connsiteY2" fmla="*/ 8965 h 2360913"/>
              <a:gd name="connsiteX3" fmla="*/ 3193835 w 3193835"/>
              <a:gd name="connsiteY3" fmla="*/ 558052 h 2360913"/>
              <a:gd name="connsiteX4" fmla="*/ 284788 w 3193835"/>
              <a:gd name="connsiteY4" fmla="*/ 2279276 h 2360913"/>
              <a:gd name="connsiteX5" fmla="*/ 105494 w 3193835"/>
              <a:gd name="connsiteY5" fmla="*/ 2010335 h 2360913"/>
              <a:gd name="connsiteX6" fmla="*/ 248929 w 3193835"/>
              <a:gd name="connsiteY6" fmla="*/ 1364876 h 2360913"/>
              <a:gd name="connsiteX7" fmla="*/ 266859 w 3193835"/>
              <a:gd name="connsiteY7" fmla="*/ 1311088 h 2360913"/>
              <a:gd name="connsiteX0" fmla="*/ 260540 w 3187516"/>
              <a:gd name="connsiteY0" fmla="*/ 1311088 h 2356951"/>
              <a:gd name="connsiteX1" fmla="*/ 2008657 w 3187516"/>
              <a:gd name="connsiteY1" fmla="*/ 0 h 2356951"/>
              <a:gd name="connsiteX2" fmla="*/ 3178551 w 3187516"/>
              <a:gd name="connsiteY2" fmla="*/ 8965 h 2356951"/>
              <a:gd name="connsiteX3" fmla="*/ 3187516 w 3187516"/>
              <a:gd name="connsiteY3" fmla="*/ 558052 h 2356951"/>
              <a:gd name="connsiteX4" fmla="*/ 278469 w 3187516"/>
              <a:gd name="connsiteY4" fmla="*/ 2279276 h 2356951"/>
              <a:gd name="connsiteX5" fmla="*/ 99175 w 3187516"/>
              <a:gd name="connsiteY5" fmla="*/ 2010335 h 2356951"/>
              <a:gd name="connsiteX6" fmla="*/ 121586 w 3187516"/>
              <a:gd name="connsiteY6" fmla="*/ 1553135 h 2356951"/>
              <a:gd name="connsiteX7" fmla="*/ 260540 w 3187516"/>
              <a:gd name="connsiteY7" fmla="*/ 1311088 h 2356951"/>
              <a:gd name="connsiteX0" fmla="*/ 186581 w 3187516"/>
              <a:gd name="connsiteY0" fmla="*/ 1485347 h 2457251"/>
              <a:gd name="connsiteX1" fmla="*/ 2008657 w 3187516"/>
              <a:gd name="connsiteY1" fmla="*/ 100300 h 2457251"/>
              <a:gd name="connsiteX2" fmla="*/ 3178551 w 3187516"/>
              <a:gd name="connsiteY2" fmla="*/ 109265 h 2457251"/>
              <a:gd name="connsiteX3" fmla="*/ 3187516 w 3187516"/>
              <a:gd name="connsiteY3" fmla="*/ 658352 h 2457251"/>
              <a:gd name="connsiteX4" fmla="*/ 278469 w 3187516"/>
              <a:gd name="connsiteY4" fmla="*/ 2379576 h 2457251"/>
              <a:gd name="connsiteX5" fmla="*/ 99175 w 3187516"/>
              <a:gd name="connsiteY5" fmla="*/ 2110635 h 2457251"/>
              <a:gd name="connsiteX6" fmla="*/ 121586 w 3187516"/>
              <a:gd name="connsiteY6" fmla="*/ 1653435 h 2457251"/>
              <a:gd name="connsiteX7" fmla="*/ 186581 w 3187516"/>
              <a:gd name="connsiteY7" fmla="*/ 1485347 h 2457251"/>
              <a:gd name="connsiteX0" fmla="*/ 186581 w 3187516"/>
              <a:gd name="connsiteY0" fmla="*/ 1385047 h 2356951"/>
              <a:gd name="connsiteX1" fmla="*/ 2008657 w 3187516"/>
              <a:gd name="connsiteY1" fmla="*/ 0 h 2356951"/>
              <a:gd name="connsiteX2" fmla="*/ 3178551 w 3187516"/>
              <a:gd name="connsiteY2" fmla="*/ 8965 h 2356951"/>
              <a:gd name="connsiteX3" fmla="*/ 3187516 w 3187516"/>
              <a:gd name="connsiteY3" fmla="*/ 558052 h 2356951"/>
              <a:gd name="connsiteX4" fmla="*/ 278469 w 3187516"/>
              <a:gd name="connsiteY4" fmla="*/ 2279276 h 2356951"/>
              <a:gd name="connsiteX5" fmla="*/ 99175 w 3187516"/>
              <a:gd name="connsiteY5" fmla="*/ 2010335 h 2356951"/>
              <a:gd name="connsiteX6" fmla="*/ 121586 w 3187516"/>
              <a:gd name="connsiteY6" fmla="*/ 1553135 h 2356951"/>
              <a:gd name="connsiteX7" fmla="*/ 186581 w 3187516"/>
              <a:gd name="connsiteY7" fmla="*/ 1385047 h 235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7516" h="2356951">
                <a:moveTo>
                  <a:pt x="186581" y="1385047"/>
                </a:moveTo>
                <a:cubicBezTo>
                  <a:pt x="788710" y="836705"/>
                  <a:pt x="1509996" y="229347"/>
                  <a:pt x="2008657" y="0"/>
                </a:cubicBezTo>
                <a:lnTo>
                  <a:pt x="3178551" y="8965"/>
                </a:lnTo>
                <a:lnTo>
                  <a:pt x="3187516" y="558052"/>
                </a:lnTo>
                <a:cubicBezTo>
                  <a:pt x="2704169" y="936437"/>
                  <a:pt x="793193" y="2037229"/>
                  <a:pt x="278469" y="2279276"/>
                </a:cubicBezTo>
                <a:cubicBezTo>
                  <a:pt x="-236255" y="2521323"/>
                  <a:pt x="125322" y="2131358"/>
                  <a:pt x="99175" y="2010335"/>
                </a:cubicBezTo>
                <a:cubicBezTo>
                  <a:pt x="73028" y="1889312"/>
                  <a:pt x="46880" y="1799664"/>
                  <a:pt x="121586" y="1553135"/>
                </a:cubicBezTo>
                <a:lnTo>
                  <a:pt x="186581" y="1385047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/>
          <p:cNvSpPr/>
          <p:nvPr/>
        </p:nvSpPr>
        <p:spPr>
          <a:xfrm>
            <a:off x="9160625" y="897776"/>
            <a:ext cx="931026" cy="1263534"/>
          </a:xfrm>
          <a:custGeom>
            <a:avLst/>
            <a:gdLst>
              <a:gd name="connsiteX0" fmla="*/ 0 w 941960"/>
              <a:gd name="connsiteY0" fmla="*/ 206142 h 1405467"/>
              <a:gd name="connsiteX1" fmla="*/ 648393 w 941960"/>
              <a:gd name="connsiteY1" fmla="*/ 1320047 h 1405467"/>
              <a:gd name="connsiteX2" fmla="*/ 931026 w 941960"/>
              <a:gd name="connsiteY2" fmla="*/ 1187043 h 1405467"/>
              <a:gd name="connsiteX3" fmla="*/ 299259 w 941960"/>
              <a:gd name="connsiteY3" fmla="*/ 56513 h 1405467"/>
              <a:gd name="connsiteX4" fmla="*/ 16626 w 941960"/>
              <a:gd name="connsiteY4" fmla="*/ 272643 h 1405467"/>
              <a:gd name="connsiteX0" fmla="*/ 0 w 931026"/>
              <a:gd name="connsiteY0" fmla="*/ 206142 h 1320047"/>
              <a:gd name="connsiteX1" fmla="*/ 648393 w 931026"/>
              <a:gd name="connsiteY1" fmla="*/ 1320047 h 1320047"/>
              <a:gd name="connsiteX2" fmla="*/ 931026 w 931026"/>
              <a:gd name="connsiteY2" fmla="*/ 1187043 h 1320047"/>
              <a:gd name="connsiteX3" fmla="*/ 299259 w 931026"/>
              <a:gd name="connsiteY3" fmla="*/ 56513 h 1320047"/>
              <a:gd name="connsiteX4" fmla="*/ 16626 w 931026"/>
              <a:gd name="connsiteY4" fmla="*/ 272643 h 1320047"/>
              <a:gd name="connsiteX0" fmla="*/ 0 w 931026"/>
              <a:gd name="connsiteY0" fmla="*/ 206142 h 1320047"/>
              <a:gd name="connsiteX1" fmla="*/ 648393 w 931026"/>
              <a:gd name="connsiteY1" fmla="*/ 1320047 h 1320047"/>
              <a:gd name="connsiteX2" fmla="*/ 931026 w 931026"/>
              <a:gd name="connsiteY2" fmla="*/ 1187043 h 1320047"/>
              <a:gd name="connsiteX3" fmla="*/ 299259 w 931026"/>
              <a:gd name="connsiteY3" fmla="*/ 56513 h 1320047"/>
              <a:gd name="connsiteX4" fmla="*/ 16626 w 931026"/>
              <a:gd name="connsiteY4" fmla="*/ 272643 h 1320047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16626 w 931026"/>
              <a:gd name="connsiteY4" fmla="*/ 216130 h 1263534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16626 w 931026"/>
              <a:gd name="connsiteY4" fmla="*/ 216130 h 1263534"/>
              <a:gd name="connsiteX0" fmla="*/ 0 w 931026"/>
              <a:gd name="connsiteY0" fmla="*/ 202159 h 1316064"/>
              <a:gd name="connsiteX1" fmla="*/ 648393 w 931026"/>
              <a:gd name="connsiteY1" fmla="*/ 1316064 h 1316064"/>
              <a:gd name="connsiteX2" fmla="*/ 931026 w 931026"/>
              <a:gd name="connsiteY2" fmla="*/ 1183060 h 1316064"/>
              <a:gd name="connsiteX3" fmla="*/ 299259 w 931026"/>
              <a:gd name="connsiteY3" fmla="*/ 52530 h 1316064"/>
              <a:gd name="connsiteX4" fmla="*/ 3747 w 931026"/>
              <a:gd name="connsiteY4" fmla="*/ 204266 h 1316064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3747 w 931026"/>
              <a:gd name="connsiteY4" fmla="*/ 151736 h 1263534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3747 w 931026"/>
              <a:gd name="connsiteY4" fmla="*/ 151736 h 1263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026" h="1263534">
                <a:moveTo>
                  <a:pt x="0" y="149629"/>
                </a:moveTo>
                <a:lnTo>
                  <a:pt x="648393" y="1263534"/>
                </a:lnTo>
                <a:lnTo>
                  <a:pt x="931026" y="1130530"/>
                </a:lnTo>
                <a:lnTo>
                  <a:pt x="299259" y="0"/>
                </a:lnTo>
                <a:lnTo>
                  <a:pt x="3747" y="151736"/>
                </a:ln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>
          <a:xfrm>
            <a:off x="9349740" y="-68580"/>
            <a:ext cx="2880360" cy="2222798"/>
          </a:xfrm>
          <a:custGeom>
            <a:avLst/>
            <a:gdLst>
              <a:gd name="connsiteX0" fmla="*/ 0 w 3108551"/>
              <a:gd name="connsiteY0" fmla="*/ 948394 h 2343230"/>
              <a:gd name="connsiteX1" fmla="*/ 708660 w 3108551"/>
              <a:gd name="connsiteY1" fmla="*/ 2342854 h 2343230"/>
              <a:gd name="connsiteX2" fmla="*/ 2880360 w 3108551"/>
              <a:gd name="connsiteY2" fmla="*/ 834094 h 2343230"/>
              <a:gd name="connsiteX3" fmla="*/ 2857500 w 3108551"/>
              <a:gd name="connsiteY3" fmla="*/ 79714 h 2343230"/>
              <a:gd name="connsiteX4" fmla="*/ 1234440 w 3108551"/>
              <a:gd name="connsiteY4" fmla="*/ 125434 h 2343230"/>
              <a:gd name="connsiteX5" fmla="*/ 22860 w 3108551"/>
              <a:gd name="connsiteY5" fmla="*/ 994114 h 2343230"/>
              <a:gd name="connsiteX0" fmla="*/ 0 w 3108551"/>
              <a:gd name="connsiteY0" fmla="*/ 948394 h 2342854"/>
              <a:gd name="connsiteX1" fmla="*/ 708660 w 3108551"/>
              <a:gd name="connsiteY1" fmla="*/ 2342854 h 2342854"/>
              <a:gd name="connsiteX2" fmla="*/ 2880360 w 3108551"/>
              <a:gd name="connsiteY2" fmla="*/ 834094 h 2342854"/>
              <a:gd name="connsiteX3" fmla="*/ 2857500 w 3108551"/>
              <a:gd name="connsiteY3" fmla="*/ 79714 h 2342854"/>
              <a:gd name="connsiteX4" fmla="*/ 1234440 w 3108551"/>
              <a:gd name="connsiteY4" fmla="*/ 125434 h 2342854"/>
              <a:gd name="connsiteX5" fmla="*/ 22860 w 3108551"/>
              <a:gd name="connsiteY5" fmla="*/ 994114 h 2342854"/>
              <a:gd name="connsiteX0" fmla="*/ 0 w 3108551"/>
              <a:gd name="connsiteY0" fmla="*/ 948394 h 2342854"/>
              <a:gd name="connsiteX1" fmla="*/ 708660 w 3108551"/>
              <a:gd name="connsiteY1" fmla="*/ 2342854 h 2342854"/>
              <a:gd name="connsiteX2" fmla="*/ 2880360 w 3108551"/>
              <a:gd name="connsiteY2" fmla="*/ 834094 h 2342854"/>
              <a:gd name="connsiteX3" fmla="*/ 2857500 w 3108551"/>
              <a:gd name="connsiteY3" fmla="*/ 79714 h 2342854"/>
              <a:gd name="connsiteX4" fmla="*/ 1234440 w 3108551"/>
              <a:gd name="connsiteY4" fmla="*/ 125434 h 2342854"/>
              <a:gd name="connsiteX5" fmla="*/ 22860 w 3108551"/>
              <a:gd name="connsiteY5" fmla="*/ 994114 h 2342854"/>
              <a:gd name="connsiteX0" fmla="*/ 0 w 2880360"/>
              <a:gd name="connsiteY0" fmla="*/ 948394 h 2342854"/>
              <a:gd name="connsiteX1" fmla="*/ 708660 w 2880360"/>
              <a:gd name="connsiteY1" fmla="*/ 2342854 h 2342854"/>
              <a:gd name="connsiteX2" fmla="*/ 2880360 w 2880360"/>
              <a:gd name="connsiteY2" fmla="*/ 834094 h 2342854"/>
              <a:gd name="connsiteX3" fmla="*/ 2857500 w 2880360"/>
              <a:gd name="connsiteY3" fmla="*/ 79714 h 2342854"/>
              <a:gd name="connsiteX4" fmla="*/ 1234440 w 2880360"/>
              <a:gd name="connsiteY4" fmla="*/ 125434 h 2342854"/>
              <a:gd name="connsiteX5" fmla="*/ 22860 w 2880360"/>
              <a:gd name="connsiteY5" fmla="*/ 994114 h 2342854"/>
              <a:gd name="connsiteX0" fmla="*/ 0 w 2880360"/>
              <a:gd name="connsiteY0" fmla="*/ 868680 h 2263140"/>
              <a:gd name="connsiteX1" fmla="*/ 708660 w 2880360"/>
              <a:gd name="connsiteY1" fmla="*/ 2263140 h 2263140"/>
              <a:gd name="connsiteX2" fmla="*/ 2880360 w 2880360"/>
              <a:gd name="connsiteY2" fmla="*/ 754380 h 2263140"/>
              <a:gd name="connsiteX3" fmla="*/ 2857500 w 2880360"/>
              <a:gd name="connsiteY3" fmla="*/ 0 h 2263140"/>
              <a:gd name="connsiteX4" fmla="*/ 1234440 w 2880360"/>
              <a:gd name="connsiteY4" fmla="*/ 45720 h 2263140"/>
              <a:gd name="connsiteX5" fmla="*/ 22860 w 2880360"/>
              <a:gd name="connsiteY5" fmla="*/ 914400 h 2263140"/>
              <a:gd name="connsiteX0" fmla="*/ 0 w 2880360"/>
              <a:gd name="connsiteY0" fmla="*/ 868680 h 2263140"/>
              <a:gd name="connsiteX1" fmla="*/ 708660 w 2880360"/>
              <a:gd name="connsiteY1" fmla="*/ 2263140 h 2263140"/>
              <a:gd name="connsiteX2" fmla="*/ 2880360 w 2880360"/>
              <a:gd name="connsiteY2" fmla="*/ 754380 h 2263140"/>
              <a:gd name="connsiteX3" fmla="*/ 2857500 w 2880360"/>
              <a:gd name="connsiteY3" fmla="*/ 0 h 2263140"/>
              <a:gd name="connsiteX4" fmla="*/ 1234440 w 2880360"/>
              <a:gd name="connsiteY4" fmla="*/ 45720 h 2263140"/>
              <a:gd name="connsiteX5" fmla="*/ 22860 w 2880360"/>
              <a:gd name="connsiteY5" fmla="*/ 914400 h 2263140"/>
              <a:gd name="connsiteX0" fmla="*/ 0 w 3030441"/>
              <a:gd name="connsiteY0" fmla="*/ 868680 h 2222798"/>
              <a:gd name="connsiteX1" fmla="*/ 775895 w 3030441"/>
              <a:gd name="connsiteY1" fmla="*/ 2222798 h 2222798"/>
              <a:gd name="connsiteX2" fmla="*/ 2880360 w 3030441"/>
              <a:gd name="connsiteY2" fmla="*/ 754380 h 2222798"/>
              <a:gd name="connsiteX3" fmla="*/ 2857500 w 3030441"/>
              <a:gd name="connsiteY3" fmla="*/ 0 h 2222798"/>
              <a:gd name="connsiteX4" fmla="*/ 1234440 w 3030441"/>
              <a:gd name="connsiteY4" fmla="*/ 45720 h 2222798"/>
              <a:gd name="connsiteX5" fmla="*/ 22860 w 3030441"/>
              <a:gd name="connsiteY5" fmla="*/ 914400 h 2222798"/>
              <a:gd name="connsiteX0" fmla="*/ 0 w 2880360"/>
              <a:gd name="connsiteY0" fmla="*/ 868680 h 2222798"/>
              <a:gd name="connsiteX1" fmla="*/ 775895 w 2880360"/>
              <a:gd name="connsiteY1" fmla="*/ 2222798 h 2222798"/>
              <a:gd name="connsiteX2" fmla="*/ 2880360 w 2880360"/>
              <a:gd name="connsiteY2" fmla="*/ 754380 h 2222798"/>
              <a:gd name="connsiteX3" fmla="*/ 2857500 w 2880360"/>
              <a:gd name="connsiteY3" fmla="*/ 0 h 2222798"/>
              <a:gd name="connsiteX4" fmla="*/ 1234440 w 2880360"/>
              <a:gd name="connsiteY4" fmla="*/ 45720 h 2222798"/>
              <a:gd name="connsiteX5" fmla="*/ 22860 w 2880360"/>
              <a:gd name="connsiteY5" fmla="*/ 914400 h 2222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80360" h="2222798">
                <a:moveTo>
                  <a:pt x="0" y="868680"/>
                </a:moveTo>
                <a:lnTo>
                  <a:pt x="775895" y="2222798"/>
                </a:lnTo>
                <a:cubicBezTo>
                  <a:pt x="1477383" y="1733325"/>
                  <a:pt x="2533426" y="1124846"/>
                  <a:pt x="2880360" y="754380"/>
                </a:cubicBezTo>
                <a:lnTo>
                  <a:pt x="2857500" y="0"/>
                </a:lnTo>
                <a:lnTo>
                  <a:pt x="1234440" y="45720"/>
                </a:lnTo>
                <a:lnTo>
                  <a:pt x="22860" y="914400"/>
                </a:lnTo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Content Placeholder 8"/>
          <p:cNvSpPr txBox="1">
            <a:spLocks/>
          </p:cNvSpPr>
          <p:nvPr/>
        </p:nvSpPr>
        <p:spPr>
          <a:xfrm>
            <a:off x="609439" y="1295400"/>
            <a:ext cx="5690996" cy="4876800"/>
          </a:xfrm>
          <a:prstGeom prst="rect">
            <a:avLst/>
          </a:prstGeom>
        </p:spPr>
        <p:txBody>
          <a:bodyPr>
            <a:normAutofit fontScale="77500" lnSpcReduction="20000"/>
          </a:bodyPr>
          <a:lstStyle/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/>
              <a:t>Thera Bank has a growing customer base, were the majority are liability customers or depositors, while asset customers or  borrowers  size is quite small; </a:t>
            </a:r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/>
              <a:t>The bank is interested in expanding their borrowers base, to profit from loan interest;</a:t>
            </a:r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/>
              <a:t>In efforts to understand client needs, Management has lunched in 2019 a personal loan campaign, yielding 9.6% successful conversion rate; </a:t>
            </a:r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dirty="0"/>
              <a:t>For 2020, the bank Marketing team has devised a new strategy based on targeted marketing campaigns, to minimize budget spend;</a:t>
            </a:r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b="1" i="1" dirty="0"/>
              <a:t>The team wants assistance in building a model that will help them identify the potential customers who have a higher probability of purchasing the loan. This will increase the success ratio while at the same time reduce the cost of the campaign. </a:t>
            </a:r>
          </a:p>
          <a:p>
            <a:pPr marL="457120" marR="0" lvl="0" indent="-457120" algn="l" defTabSz="12189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457120" marR="0" lvl="0" indent="-457120" algn="l" defTabSz="12189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8929950" y="2809099"/>
            <a:ext cx="1978582" cy="2021459"/>
            <a:chOff x="7769427" y="1514165"/>
            <a:chExt cx="2606270" cy="2662748"/>
          </a:xfrm>
        </p:grpSpPr>
        <p:grpSp>
          <p:nvGrpSpPr>
            <p:cNvPr id="71" name="Group 70"/>
            <p:cNvGrpSpPr/>
            <p:nvPr/>
          </p:nvGrpSpPr>
          <p:grpSpPr>
            <a:xfrm rot="910688">
              <a:off x="7782127" y="1560715"/>
              <a:ext cx="2593570" cy="2593570"/>
              <a:chOff x="7782127" y="1560715"/>
              <a:chExt cx="2593570" cy="2593570"/>
            </a:xfrm>
          </p:grpSpPr>
          <p:sp>
            <p:nvSpPr>
              <p:cNvPr id="82" name="Freeform 81"/>
              <p:cNvSpPr/>
              <p:nvPr/>
            </p:nvSpPr>
            <p:spPr>
              <a:xfrm rot="8758352">
                <a:off x="9284998" y="2762074"/>
                <a:ext cx="161842" cy="1081387"/>
              </a:xfrm>
              <a:custGeom>
                <a:avLst/>
                <a:gdLst>
                  <a:gd name="connsiteX0" fmla="*/ 0 w 378027"/>
                  <a:gd name="connsiteY0" fmla="*/ 0 h 3036916"/>
                  <a:gd name="connsiteX1" fmla="*/ 378027 w 378027"/>
                  <a:gd name="connsiteY1" fmla="*/ 0 h 3036916"/>
                  <a:gd name="connsiteX2" fmla="*/ 378027 w 378027"/>
                  <a:gd name="connsiteY2" fmla="*/ 3036916 h 3036916"/>
                  <a:gd name="connsiteX3" fmla="*/ 0 w 378027"/>
                  <a:gd name="connsiteY3" fmla="*/ 3036916 h 3036916"/>
                  <a:gd name="connsiteX4" fmla="*/ 0 w 378027"/>
                  <a:gd name="connsiteY4" fmla="*/ 0 h 3036916"/>
                  <a:gd name="connsiteX0" fmla="*/ 0 w 378027"/>
                  <a:gd name="connsiteY0" fmla="*/ 0 h 3036916"/>
                  <a:gd name="connsiteX1" fmla="*/ 181697 w 378027"/>
                  <a:gd name="connsiteY1" fmla="*/ 1385 h 3036916"/>
                  <a:gd name="connsiteX2" fmla="*/ 378027 w 378027"/>
                  <a:gd name="connsiteY2" fmla="*/ 0 h 3036916"/>
                  <a:gd name="connsiteX3" fmla="*/ 378027 w 378027"/>
                  <a:gd name="connsiteY3" fmla="*/ 3036916 h 3036916"/>
                  <a:gd name="connsiteX4" fmla="*/ 0 w 378027"/>
                  <a:gd name="connsiteY4" fmla="*/ 3036916 h 3036916"/>
                  <a:gd name="connsiteX5" fmla="*/ 0 w 378027"/>
                  <a:gd name="connsiteY5" fmla="*/ 0 h 3036916"/>
                  <a:gd name="connsiteX0" fmla="*/ 0 w 378027"/>
                  <a:gd name="connsiteY0" fmla="*/ 532015 h 3568931"/>
                  <a:gd name="connsiteX1" fmla="*/ 181697 w 378027"/>
                  <a:gd name="connsiteY1" fmla="*/ 0 h 3568931"/>
                  <a:gd name="connsiteX2" fmla="*/ 378027 w 378027"/>
                  <a:gd name="connsiteY2" fmla="*/ 532015 h 3568931"/>
                  <a:gd name="connsiteX3" fmla="*/ 378027 w 378027"/>
                  <a:gd name="connsiteY3" fmla="*/ 3568931 h 3568931"/>
                  <a:gd name="connsiteX4" fmla="*/ 0 w 378027"/>
                  <a:gd name="connsiteY4" fmla="*/ 3568931 h 3568931"/>
                  <a:gd name="connsiteX5" fmla="*/ 0 w 378027"/>
                  <a:gd name="connsiteY5" fmla="*/ 532015 h 3568931"/>
                  <a:gd name="connsiteX0" fmla="*/ 0 w 378027"/>
                  <a:gd name="connsiteY0" fmla="*/ 1841416 h 4878332"/>
                  <a:gd name="connsiteX1" fmla="*/ 181697 w 378027"/>
                  <a:gd name="connsiteY1" fmla="*/ 0 h 4878332"/>
                  <a:gd name="connsiteX2" fmla="*/ 378027 w 378027"/>
                  <a:gd name="connsiteY2" fmla="*/ 1841416 h 4878332"/>
                  <a:gd name="connsiteX3" fmla="*/ 378027 w 378027"/>
                  <a:gd name="connsiteY3" fmla="*/ 4878332 h 4878332"/>
                  <a:gd name="connsiteX4" fmla="*/ 0 w 378027"/>
                  <a:gd name="connsiteY4" fmla="*/ 4878332 h 4878332"/>
                  <a:gd name="connsiteX5" fmla="*/ 0 w 378027"/>
                  <a:gd name="connsiteY5" fmla="*/ 1841416 h 4878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8027" h="4878332">
                    <a:moveTo>
                      <a:pt x="0" y="1841416"/>
                    </a:moveTo>
                    <a:lnTo>
                      <a:pt x="181697" y="0"/>
                    </a:lnTo>
                    <a:lnTo>
                      <a:pt x="378027" y="1841416"/>
                    </a:lnTo>
                    <a:lnTo>
                      <a:pt x="378027" y="4878332"/>
                    </a:lnTo>
                    <a:lnTo>
                      <a:pt x="0" y="4878332"/>
                    </a:lnTo>
                    <a:lnTo>
                      <a:pt x="0" y="184141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7782127" y="1560715"/>
                <a:ext cx="2593570" cy="2593570"/>
              </a:xfrm>
              <a:prstGeom prst="ellipse">
                <a:avLst/>
              </a:prstGeom>
              <a:noFill/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7769427" y="1514165"/>
              <a:ext cx="2593570" cy="2662748"/>
              <a:chOff x="7769427" y="1514165"/>
              <a:chExt cx="2593570" cy="2662748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7769427" y="1560715"/>
                <a:ext cx="2593570" cy="2593570"/>
              </a:xfrm>
              <a:prstGeom prst="ellipse">
                <a:avLst/>
              </a:prstGeom>
              <a:noFill/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8730190" y="1514165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2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8730190" y="3568789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06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7777901" y="2605071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09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9646875" y="2621696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03</a:t>
                </a:r>
              </a:p>
            </p:txBody>
          </p:sp>
          <p:grpSp>
            <p:nvGrpSpPr>
              <p:cNvPr id="78" name="Group 77"/>
              <p:cNvGrpSpPr/>
              <p:nvPr/>
            </p:nvGrpSpPr>
            <p:grpSpPr>
              <a:xfrm rot="295266">
                <a:off x="8154034" y="1937202"/>
                <a:ext cx="1844406" cy="1844406"/>
                <a:chOff x="8154034" y="1937202"/>
                <a:chExt cx="1844406" cy="1844406"/>
              </a:xfrm>
            </p:grpSpPr>
            <p:sp>
              <p:nvSpPr>
                <p:cNvPr id="79" name="Freeform 78"/>
                <p:cNvSpPr/>
                <p:nvPr/>
              </p:nvSpPr>
              <p:spPr>
                <a:xfrm rot="451062">
                  <a:off x="9039560" y="2140272"/>
                  <a:ext cx="152400" cy="767434"/>
                </a:xfrm>
                <a:custGeom>
                  <a:avLst/>
                  <a:gdLst>
                    <a:gd name="connsiteX0" fmla="*/ 0 w 378027"/>
                    <a:gd name="connsiteY0" fmla="*/ 0 h 3036916"/>
                    <a:gd name="connsiteX1" fmla="*/ 378027 w 378027"/>
                    <a:gd name="connsiteY1" fmla="*/ 0 h 3036916"/>
                    <a:gd name="connsiteX2" fmla="*/ 378027 w 378027"/>
                    <a:gd name="connsiteY2" fmla="*/ 3036916 h 3036916"/>
                    <a:gd name="connsiteX3" fmla="*/ 0 w 378027"/>
                    <a:gd name="connsiteY3" fmla="*/ 3036916 h 3036916"/>
                    <a:gd name="connsiteX4" fmla="*/ 0 w 378027"/>
                    <a:gd name="connsiteY4" fmla="*/ 0 h 3036916"/>
                    <a:gd name="connsiteX0" fmla="*/ 0 w 378027"/>
                    <a:gd name="connsiteY0" fmla="*/ 0 h 3036916"/>
                    <a:gd name="connsiteX1" fmla="*/ 181697 w 378027"/>
                    <a:gd name="connsiteY1" fmla="*/ 1385 h 3036916"/>
                    <a:gd name="connsiteX2" fmla="*/ 378027 w 378027"/>
                    <a:gd name="connsiteY2" fmla="*/ 0 h 3036916"/>
                    <a:gd name="connsiteX3" fmla="*/ 378027 w 378027"/>
                    <a:gd name="connsiteY3" fmla="*/ 3036916 h 3036916"/>
                    <a:gd name="connsiteX4" fmla="*/ 0 w 378027"/>
                    <a:gd name="connsiteY4" fmla="*/ 3036916 h 3036916"/>
                    <a:gd name="connsiteX5" fmla="*/ 0 w 378027"/>
                    <a:gd name="connsiteY5" fmla="*/ 0 h 3036916"/>
                    <a:gd name="connsiteX0" fmla="*/ 0 w 378027"/>
                    <a:gd name="connsiteY0" fmla="*/ 532015 h 3568931"/>
                    <a:gd name="connsiteX1" fmla="*/ 181697 w 378027"/>
                    <a:gd name="connsiteY1" fmla="*/ 0 h 3568931"/>
                    <a:gd name="connsiteX2" fmla="*/ 378027 w 378027"/>
                    <a:gd name="connsiteY2" fmla="*/ 532015 h 3568931"/>
                    <a:gd name="connsiteX3" fmla="*/ 378027 w 378027"/>
                    <a:gd name="connsiteY3" fmla="*/ 3568931 h 3568931"/>
                    <a:gd name="connsiteX4" fmla="*/ 0 w 378027"/>
                    <a:gd name="connsiteY4" fmla="*/ 3568931 h 3568931"/>
                    <a:gd name="connsiteX5" fmla="*/ 0 w 378027"/>
                    <a:gd name="connsiteY5" fmla="*/ 532015 h 3568931"/>
                    <a:gd name="connsiteX0" fmla="*/ 0 w 378027"/>
                    <a:gd name="connsiteY0" fmla="*/ 1841416 h 4878332"/>
                    <a:gd name="connsiteX1" fmla="*/ 181697 w 378027"/>
                    <a:gd name="connsiteY1" fmla="*/ 0 h 4878332"/>
                    <a:gd name="connsiteX2" fmla="*/ 378027 w 378027"/>
                    <a:gd name="connsiteY2" fmla="*/ 1841416 h 4878332"/>
                    <a:gd name="connsiteX3" fmla="*/ 378027 w 378027"/>
                    <a:gd name="connsiteY3" fmla="*/ 4878332 h 4878332"/>
                    <a:gd name="connsiteX4" fmla="*/ 0 w 378027"/>
                    <a:gd name="connsiteY4" fmla="*/ 4878332 h 4878332"/>
                    <a:gd name="connsiteX5" fmla="*/ 0 w 378027"/>
                    <a:gd name="connsiteY5" fmla="*/ 1841416 h 487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8027" h="4878332">
                      <a:moveTo>
                        <a:pt x="0" y="1841416"/>
                      </a:moveTo>
                      <a:lnTo>
                        <a:pt x="181697" y="0"/>
                      </a:lnTo>
                      <a:lnTo>
                        <a:pt x="378027" y="1841416"/>
                      </a:lnTo>
                      <a:lnTo>
                        <a:pt x="378027" y="4878332"/>
                      </a:lnTo>
                      <a:lnTo>
                        <a:pt x="0" y="4878332"/>
                      </a:lnTo>
                      <a:lnTo>
                        <a:pt x="0" y="18414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8911427" y="2701127"/>
                  <a:ext cx="305126" cy="305126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1" name="Oval 80"/>
                <p:cNvSpPr/>
                <p:nvPr/>
              </p:nvSpPr>
              <p:spPr>
                <a:xfrm>
                  <a:off x="8154034" y="1937202"/>
                  <a:ext cx="1844406" cy="1844406"/>
                </a:xfrm>
                <a:prstGeom prst="ellipse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9425849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DBB14D1-C2C9-4D6C-BCCD-39F691EFAB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69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6E9069-C5A5-44D4-BB2B-11C099DEAC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5768111"/>
            <a:ext cx="12188825" cy="1089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ustomers Data Set Overview  </a:t>
            </a: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auto">
          <a:xfrm>
            <a:off x="7435512" y="3133200"/>
            <a:ext cx="56372" cy="47022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Freeform 18"/>
          <p:cNvSpPr>
            <a:spLocks noEditPoints="1"/>
          </p:cNvSpPr>
          <p:nvPr/>
        </p:nvSpPr>
        <p:spPr bwMode="auto">
          <a:xfrm>
            <a:off x="6778920" y="1188929"/>
            <a:ext cx="2577978" cy="2162751"/>
          </a:xfrm>
          <a:custGeom>
            <a:avLst/>
            <a:gdLst/>
            <a:ahLst/>
            <a:cxnLst>
              <a:cxn ang="0">
                <a:pos x="629" y="716"/>
              </a:cxn>
              <a:cxn ang="0">
                <a:pos x="538" y="772"/>
              </a:cxn>
              <a:cxn ang="0">
                <a:pos x="523" y="811"/>
              </a:cxn>
              <a:cxn ang="0">
                <a:pos x="502" y="967"/>
              </a:cxn>
              <a:cxn ang="0">
                <a:pos x="463" y="1097"/>
              </a:cxn>
              <a:cxn ang="0">
                <a:pos x="452" y="1136"/>
              </a:cxn>
              <a:cxn ang="0">
                <a:pos x="480" y="1233"/>
              </a:cxn>
              <a:cxn ang="0">
                <a:pos x="508" y="1376"/>
              </a:cxn>
              <a:cxn ang="0">
                <a:pos x="523" y="1302"/>
              </a:cxn>
              <a:cxn ang="0">
                <a:pos x="590" y="1188"/>
              </a:cxn>
              <a:cxn ang="0">
                <a:pos x="670" y="1112"/>
              </a:cxn>
              <a:cxn ang="0">
                <a:pos x="796" y="1023"/>
              </a:cxn>
              <a:cxn ang="0">
                <a:pos x="982" y="889"/>
              </a:cxn>
              <a:cxn ang="0">
                <a:pos x="1038" y="809"/>
              </a:cxn>
              <a:cxn ang="0">
                <a:pos x="941" y="746"/>
              </a:cxn>
              <a:cxn ang="0">
                <a:pos x="785" y="714"/>
              </a:cxn>
              <a:cxn ang="0">
                <a:pos x="705" y="690"/>
              </a:cxn>
              <a:cxn ang="0">
                <a:pos x="843" y="17"/>
              </a:cxn>
              <a:cxn ang="0">
                <a:pos x="1036" y="30"/>
              </a:cxn>
              <a:cxn ang="0">
                <a:pos x="1215" y="65"/>
              </a:cxn>
              <a:cxn ang="0">
                <a:pos x="1486" y="145"/>
              </a:cxn>
              <a:cxn ang="0">
                <a:pos x="1661" y="136"/>
              </a:cxn>
              <a:cxn ang="0">
                <a:pos x="1834" y="56"/>
              </a:cxn>
              <a:cxn ang="0">
                <a:pos x="1875" y="746"/>
              </a:cxn>
              <a:cxn ang="0">
                <a:pos x="1815" y="794"/>
              </a:cxn>
              <a:cxn ang="0">
                <a:pos x="1696" y="889"/>
              </a:cxn>
              <a:cxn ang="0">
                <a:pos x="1583" y="974"/>
              </a:cxn>
              <a:cxn ang="0">
                <a:pos x="1341" y="1049"/>
              </a:cxn>
              <a:cxn ang="0">
                <a:pos x="1211" y="1106"/>
              </a:cxn>
              <a:cxn ang="0">
                <a:pos x="1032" y="1225"/>
              </a:cxn>
              <a:cxn ang="0">
                <a:pos x="846" y="1361"/>
              </a:cxn>
              <a:cxn ang="0">
                <a:pos x="683" y="1488"/>
              </a:cxn>
              <a:cxn ang="0">
                <a:pos x="556" y="1536"/>
              </a:cxn>
              <a:cxn ang="0">
                <a:pos x="504" y="1456"/>
              </a:cxn>
              <a:cxn ang="0">
                <a:pos x="502" y="1415"/>
              </a:cxn>
              <a:cxn ang="0">
                <a:pos x="471" y="1510"/>
              </a:cxn>
              <a:cxn ang="0">
                <a:pos x="402" y="1573"/>
              </a:cxn>
              <a:cxn ang="0">
                <a:pos x="339" y="1547"/>
              </a:cxn>
              <a:cxn ang="0">
                <a:pos x="259" y="1413"/>
              </a:cxn>
              <a:cxn ang="0">
                <a:pos x="162" y="1240"/>
              </a:cxn>
              <a:cxn ang="0">
                <a:pos x="69" y="1030"/>
              </a:cxn>
              <a:cxn ang="0">
                <a:pos x="32" y="824"/>
              </a:cxn>
              <a:cxn ang="0">
                <a:pos x="0" y="640"/>
              </a:cxn>
              <a:cxn ang="0">
                <a:pos x="58" y="524"/>
              </a:cxn>
              <a:cxn ang="0">
                <a:pos x="214" y="431"/>
              </a:cxn>
              <a:cxn ang="0">
                <a:pos x="363" y="331"/>
              </a:cxn>
              <a:cxn ang="0">
                <a:pos x="515" y="175"/>
              </a:cxn>
              <a:cxn ang="0">
                <a:pos x="569" y="89"/>
              </a:cxn>
              <a:cxn ang="0">
                <a:pos x="653" y="9"/>
              </a:cxn>
            </a:cxnLst>
            <a:rect l="0" t="0" r="r" b="b"/>
            <a:pathLst>
              <a:path w="1875" h="1573">
                <a:moveTo>
                  <a:pt x="705" y="690"/>
                </a:moveTo>
                <a:lnTo>
                  <a:pt x="683" y="692"/>
                </a:lnTo>
                <a:lnTo>
                  <a:pt x="657" y="703"/>
                </a:lnTo>
                <a:lnTo>
                  <a:pt x="629" y="716"/>
                </a:lnTo>
                <a:lnTo>
                  <a:pt x="601" y="731"/>
                </a:lnTo>
                <a:lnTo>
                  <a:pt x="577" y="746"/>
                </a:lnTo>
                <a:lnTo>
                  <a:pt x="556" y="762"/>
                </a:lnTo>
                <a:lnTo>
                  <a:pt x="538" y="772"/>
                </a:lnTo>
                <a:lnTo>
                  <a:pt x="530" y="783"/>
                </a:lnTo>
                <a:lnTo>
                  <a:pt x="525" y="788"/>
                </a:lnTo>
                <a:lnTo>
                  <a:pt x="525" y="794"/>
                </a:lnTo>
                <a:lnTo>
                  <a:pt x="523" y="811"/>
                </a:lnTo>
                <a:lnTo>
                  <a:pt x="519" y="835"/>
                </a:lnTo>
                <a:lnTo>
                  <a:pt x="515" y="870"/>
                </a:lnTo>
                <a:lnTo>
                  <a:pt x="510" y="913"/>
                </a:lnTo>
                <a:lnTo>
                  <a:pt x="502" y="967"/>
                </a:lnTo>
                <a:lnTo>
                  <a:pt x="493" y="1013"/>
                </a:lnTo>
                <a:lnTo>
                  <a:pt x="482" y="1049"/>
                </a:lnTo>
                <a:lnTo>
                  <a:pt x="471" y="1075"/>
                </a:lnTo>
                <a:lnTo>
                  <a:pt x="463" y="1097"/>
                </a:lnTo>
                <a:lnTo>
                  <a:pt x="454" y="1110"/>
                </a:lnTo>
                <a:lnTo>
                  <a:pt x="450" y="1121"/>
                </a:lnTo>
                <a:lnTo>
                  <a:pt x="450" y="1127"/>
                </a:lnTo>
                <a:lnTo>
                  <a:pt x="452" y="1136"/>
                </a:lnTo>
                <a:lnTo>
                  <a:pt x="454" y="1151"/>
                </a:lnTo>
                <a:lnTo>
                  <a:pt x="461" y="1170"/>
                </a:lnTo>
                <a:lnTo>
                  <a:pt x="467" y="1196"/>
                </a:lnTo>
                <a:lnTo>
                  <a:pt x="480" y="1233"/>
                </a:lnTo>
                <a:lnTo>
                  <a:pt x="497" y="1276"/>
                </a:lnTo>
                <a:lnTo>
                  <a:pt x="508" y="1313"/>
                </a:lnTo>
                <a:lnTo>
                  <a:pt x="510" y="1350"/>
                </a:lnTo>
                <a:lnTo>
                  <a:pt x="508" y="1376"/>
                </a:lnTo>
                <a:lnTo>
                  <a:pt x="510" y="1365"/>
                </a:lnTo>
                <a:lnTo>
                  <a:pt x="515" y="1339"/>
                </a:lnTo>
                <a:lnTo>
                  <a:pt x="521" y="1318"/>
                </a:lnTo>
                <a:lnTo>
                  <a:pt x="523" y="1302"/>
                </a:lnTo>
                <a:lnTo>
                  <a:pt x="525" y="1298"/>
                </a:lnTo>
                <a:lnTo>
                  <a:pt x="547" y="1250"/>
                </a:lnTo>
                <a:lnTo>
                  <a:pt x="569" y="1214"/>
                </a:lnTo>
                <a:lnTo>
                  <a:pt x="590" y="1188"/>
                </a:lnTo>
                <a:lnTo>
                  <a:pt x="610" y="1166"/>
                </a:lnTo>
                <a:lnTo>
                  <a:pt x="631" y="1149"/>
                </a:lnTo>
                <a:lnTo>
                  <a:pt x="651" y="1132"/>
                </a:lnTo>
                <a:lnTo>
                  <a:pt x="670" y="1112"/>
                </a:lnTo>
                <a:lnTo>
                  <a:pt x="692" y="1093"/>
                </a:lnTo>
                <a:lnTo>
                  <a:pt x="722" y="1073"/>
                </a:lnTo>
                <a:lnTo>
                  <a:pt x="757" y="1049"/>
                </a:lnTo>
                <a:lnTo>
                  <a:pt x="796" y="1023"/>
                </a:lnTo>
                <a:lnTo>
                  <a:pt x="878" y="971"/>
                </a:lnTo>
                <a:lnTo>
                  <a:pt x="915" y="945"/>
                </a:lnTo>
                <a:lnTo>
                  <a:pt x="947" y="920"/>
                </a:lnTo>
                <a:lnTo>
                  <a:pt x="982" y="889"/>
                </a:lnTo>
                <a:lnTo>
                  <a:pt x="1008" y="865"/>
                </a:lnTo>
                <a:lnTo>
                  <a:pt x="1027" y="844"/>
                </a:lnTo>
                <a:lnTo>
                  <a:pt x="1038" y="826"/>
                </a:lnTo>
                <a:lnTo>
                  <a:pt x="1038" y="809"/>
                </a:lnTo>
                <a:lnTo>
                  <a:pt x="1032" y="794"/>
                </a:lnTo>
                <a:lnTo>
                  <a:pt x="1012" y="777"/>
                </a:lnTo>
                <a:lnTo>
                  <a:pt x="980" y="762"/>
                </a:lnTo>
                <a:lnTo>
                  <a:pt x="941" y="746"/>
                </a:lnTo>
                <a:lnTo>
                  <a:pt x="897" y="733"/>
                </a:lnTo>
                <a:lnTo>
                  <a:pt x="852" y="725"/>
                </a:lnTo>
                <a:lnTo>
                  <a:pt x="813" y="718"/>
                </a:lnTo>
                <a:lnTo>
                  <a:pt x="785" y="714"/>
                </a:lnTo>
                <a:lnTo>
                  <a:pt x="761" y="705"/>
                </a:lnTo>
                <a:lnTo>
                  <a:pt x="742" y="699"/>
                </a:lnTo>
                <a:lnTo>
                  <a:pt x="724" y="692"/>
                </a:lnTo>
                <a:lnTo>
                  <a:pt x="705" y="690"/>
                </a:lnTo>
                <a:close/>
                <a:moveTo>
                  <a:pt x="724" y="0"/>
                </a:moveTo>
                <a:lnTo>
                  <a:pt x="763" y="4"/>
                </a:lnTo>
                <a:lnTo>
                  <a:pt x="802" y="11"/>
                </a:lnTo>
                <a:lnTo>
                  <a:pt x="843" y="17"/>
                </a:lnTo>
                <a:lnTo>
                  <a:pt x="880" y="24"/>
                </a:lnTo>
                <a:lnTo>
                  <a:pt x="915" y="26"/>
                </a:lnTo>
                <a:lnTo>
                  <a:pt x="975" y="26"/>
                </a:lnTo>
                <a:lnTo>
                  <a:pt x="1036" y="30"/>
                </a:lnTo>
                <a:lnTo>
                  <a:pt x="1071" y="35"/>
                </a:lnTo>
                <a:lnTo>
                  <a:pt x="1112" y="43"/>
                </a:lnTo>
                <a:lnTo>
                  <a:pt x="1159" y="52"/>
                </a:lnTo>
                <a:lnTo>
                  <a:pt x="1215" y="65"/>
                </a:lnTo>
                <a:lnTo>
                  <a:pt x="1293" y="87"/>
                </a:lnTo>
                <a:lnTo>
                  <a:pt x="1365" y="108"/>
                </a:lnTo>
                <a:lnTo>
                  <a:pt x="1427" y="128"/>
                </a:lnTo>
                <a:lnTo>
                  <a:pt x="1486" y="145"/>
                </a:lnTo>
                <a:lnTo>
                  <a:pt x="1540" y="154"/>
                </a:lnTo>
                <a:lnTo>
                  <a:pt x="1592" y="154"/>
                </a:lnTo>
                <a:lnTo>
                  <a:pt x="1626" y="147"/>
                </a:lnTo>
                <a:lnTo>
                  <a:pt x="1661" y="136"/>
                </a:lnTo>
                <a:lnTo>
                  <a:pt x="1700" y="123"/>
                </a:lnTo>
                <a:lnTo>
                  <a:pt x="1774" y="89"/>
                </a:lnTo>
                <a:lnTo>
                  <a:pt x="1806" y="71"/>
                </a:lnTo>
                <a:lnTo>
                  <a:pt x="1834" y="56"/>
                </a:lnTo>
                <a:lnTo>
                  <a:pt x="1856" y="43"/>
                </a:lnTo>
                <a:lnTo>
                  <a:pt x="1871" y="35"/>
                </a:lnTo>
                <a:lnTo>
                  <a:pt x="1875" y="33"/>
                </a:lnTo>
                <a:lnTo>
                  <a:pt x="1875" y="746"/>
                </a:lnTo>
                <a:lnTo>
                  <a:pt x="1871" y="751"/>
                </a:lnTo>
                <a:lnTo>
                  <a:pt x="1858" y="759"/>
                </a:lnTo>
                <a:lnTo>
                  <a:pt x="1838" y="775"/>
                </a:lnTo>
                <a:lnTo>
                  <a:pt x="1815" y="794"/>
                </a:lnTo>
                <a:lnTo>
                  <a:pt x="1787" y="816"/>
                </a:lnTo>
                <a:lnTo>
                  <a:pt x="1756" y="839"/>
                </a:lnTo>
                <a:lnTo>
                  <a:pt x="1726" y="865"/>
                </a:lnTo>
                <a:lnTo>
                  <a:pt x="1696" y="889"/>
                </a:lnTo>
                <a:lnTo>
                  <a:pt x="1670" y="913"/>
                </a:lnTo>
                <a:lnTo>
                  <a:pt x="1648" y="935"/>
                </a:lnTo>
                <a:lnTo>
                  <a:pt x="1620" y="956"/>
                </a:lnTo>
                <a:lnTo>
                  <a:pt x="1583" y="974"/>
                </a:lnTo>
                <a:lnTo>
                  <a:pt x="1538" y="993"/>
                </a:lnTo>
                <a:lnTo>
                  <a:pt x="1438" y="1023"/>
                </a:lnTo>
                <a:lnTo>
                  <a:pt x="1386" y="1036"/>
                </a:lnTo>
                <a:lnTo>
                  <a:pt x="1341" y="1049"/>
                </a:lnTo>
                <a:lnTo>
                  <a:pt x="1300" y="1062"/>
                </a:lnTo>
                <a:lnTo>
                  <a:pt x="1270" y="1073"/>
                </a:lnTo>
                <a:lnTo>
                  <a:pt x="1244" y="1086"/>
                </a:lnTo>
                <a:lnTo>
                  <a:pt x="1211" y="1106"/>
                </a:lnTo>
                <a:lnTo>
                  <a:pt x="1172" y="1129"/>
                </a:lnTo>
                <a:lnTo>
                  <a:pt x="1129" y="1157"/>
                </a:lnTo>
                <a:lnTo>
                  <a:pt x="1081" y="1190"/>
                </a:lnTo>
                <a:lnTo>
                  <a:pt x="1032" y="1225"/>
                </a:lnTo>
                <a:lnTo>
                  <a:pt x="984" y="1259"/>
                </a:lnTo>
                <a:lnTo>
                  <a:pt x="934" y="1294"/>
                </a:lnTo>
                <a:lnTo>
                  <a:pt x="889" y="1328"/>
                </a:lnTo>
                <a:lnTo>
                  <a:pt x="846" y="1361"/>
                </a:lnTo>
                <a:lnTo>
                  <a:pt x="809" y="1389"/>
                </a:lnTo>
                <a:lnTo>
                  <a:pt x="763" y="1426"/>
                </a:lnTo>
                <a:lnTo>
                  <a:pt x="722" y="1460"/>
                </a:lnTo>
                <a:lnTo>
                  <a:pt x="683" y="1488"/>
                </a:lnTo>
                <a:lnTo>
                  <a:pt x="647" y="1512"/>
                </a:lnTo>
                <a:lnTo>
                  <a:pt x="614" y="1530"/>
                </a:lnTo>
                <a:lnTo>
                  <a:pt x="584" y="1538"/>
                </a:lnTo>
                <a:lnTo>
                  <a:pt x="556" y="1536"/>
                </a:lnTo>
                <a:lnTo>
                  <a:pt x="532" y="1525"/>
                </a:lnTo>
                <a:lnTo>
                  <a:pt x="517" y="1508"/>
                </a:lnTo>
                <a:lnTo>
                  <a:pt x="508" y="1484"/>
                </a:lnTo>
                <a:lnTo>
                  <a:pt x="504" y="1456"/>
                </a:lnTo>
                <a:lnTo>
                  <a:pt x="504" y="1426"/>
                </a:lnTo>
                <a:lnTo>
                  <a:pt x="506" y="1395"/>
                </a:lnTo>
                <a:lnTo>
                  <a:pt x="506" y="1393"/>
                </a:lnTo>
                <a:lnTo>
                  <a:pt x="502" y="1415"/>
                </a:lnTo>
                <a:lnTo>
                  <a:pt x="493" y="1441"/>
                </a:lnTo>
                <a:lnTo>
                  <a:pt x="484" y="1463"/>
                </a:lnTo>
                <a:lnTo>
                  <a:pt x="476" y="1480"/>
                </a:lnTo>
                <a:lnTo>
                  <a:pt x="471" y="1510"/>
                </a:lnTo>
                <a:lnTo>
                  <a:pt x="461" y="1534"/>
                </a:lnTo>
                <a:lnTo>
                  <a:pt x="443" y="1553"/>
                </a:lnTo>
                <a:lnTo>
                  <a:pt x="424" y="1564"/>
                </a:lnTo>
                <a:lnTo>
                  <a:pt x="402" y="1573"/>
                </a:lnTo>
                <a:lnTo>
                  <a:pt x="383" y="1573"/>
                </a:lnTo>
                <a:lnTo>
                  <a:pt x="363" y="1569"/>
                </a:lnTo>
                <a:lnTo>
                  <a:pt x="350" y="1560"/>
                </a:lnTo>
                <a:lnTo>
                  <a:pt x="339" y="1547"/>
                </a:lnTo>
                <a:lnTo>
                  <a:pt x="324" y="1523"/>
                </a:lnTo>
                <a:lnTo>
                  <a:pt x="305" y="1491"/>
                </a:lnTo>
                <a:lnTo>
                  <a:pt x="283" y="1454"/>
                </a:lnTo>
                <a:lnTo>
                  <a:pt x="259" y="1413"/>
                </a:lnTo>
                <a:lnTo>
                  <a:pt x="233" y="1367"/>
                </a:lnTo>
                <a:lnTo>
                  <a:pt x="210" y="1324"/>
                </a:lnTo>
                <a:lnTo>
                  <a:pt x="186" y="1279"/>
                </a:lnTo>
                <a:lnTo>
                  <a:pt x="162" y="1240"/>
                </a:lnTo>
                <a:lnTo>
                  <a:pt x="143" y="1203"/>
                </a:lnTo>
                <a:lnTo>
                  <a:pt x="114" y="1147"/>
                </a:lnTo>
                <a:lnTo>
                  <a:pt x="91" y="1088"/>
                </a:lnTo>
                <a:lnTo>
                  <a:pt x="69" y="1030"/>
                </a:lnTo>
                <a:lnTo>
                  <a:pt x="54" y="971"/>
                </a:lnTo>
                <a:lnTo>
                  <a:pt x="41" y="917"/>
                </a:lnTo>
                <a:lnTo>
                  <a:pt x="37" y="870"/>
                </a:lnTo>
                <a:lnTo>
                  <a:pt x="32" y="824"/>
                </a:lnTo>
                <a:lnTo>
                  <a:pt x="24" y="777"/>
                </a:lnTo>
                <a:lnTo>
                  <a:pt x="13" y="729"/>
                </a:lnTo>
                <a:lnTo>
                  <a:pt x="4" y="682"/>
                </a:lnTo>
                <a:lnTo>
                  <a:pt x="0" y="640"/>
                </a:lnTo>
                <a:lnTo>
                  <a:pt x="2" y="602"/>
                </a:lnTo>
                <a:lnTo>
                  <a:pt x="13" y="573"/>
                </a:lnTo>
                <a:lnTo>
                  <a:pt x="32" y="547"/>
                </a:lnTo>
                <a:lnTo>
                  <a:pt x="58" y="524"/>
                </a:lnTo>
                <a:lnTo>
                  <a:pt x="88" y="502"/>
                </a:lnTo>
                <a:lnTo>
                  <a:pt x="121" y="483"/>
                </a:lnTo>
                <a:lnTo>
                  <a:pt x="153" y="465"/>
                </a:lnTo>
                <a:lnTo>
                  <a:pt x="214" y="431"/>
                </a:lnTo>
                <a:lnTo>
                  <a:pt x="246" y="413"/>
                </a:lnTo>
                <a:lnTo>
                  <a:pt x="283" y="392"/>
                </a:lnTo>
                <a:lnTo>
                  <a:pt x="322" y="364"/>
                </a:lnTo>
                <a:lnTo>
                  <a:pt x="363" y="331"/>
                </a:lnTo>
                <a:lnTo>
                  <a:pt x="409" y="290"/>
                </a:lnTo>
                <a:lnTo>
                  <a:pt x="458" y="240"/>
                </a:lnTo>
                <a:lnTo>
                  <a:pt x="491" y="206"/>
                </a:lnTo>
                <a:lnTo>
                  <a:pt x="515" y="175"/>
                </a:lnTo>
                <a:lnTo>
                  <a:pt x="534" y="149"/>
                </a:lnTo>
                <a:lnTo>
                  <a:pt x="547" y="126"/>
                </a:lnTo>
                <a:lnTo>
                  <a:pt x="560" y="106"/>
                </a:lnTo>
                <a:lnTo>
                  <a:pt x="569" y="89"/>
                </a:lnTo>
                <a:lnTo>
                  <a:pt x="590" y="59"/>
                </a:lnTo>
                <a:lnTo>
                  <a:pt x="603" y="41"/>
                </a:lnTo>
                <a:lnTo>
                  <a:pt x="623" y="26"/>
                </a:lnTo>
                <a:lnTo>
                  <a:pt x="653" y="9"/>
                </a:lnTo>
                <a:lnTo>
                  <a:pt x="686" y="2"/>
                </a:lnTo>
                <a:lnTo>
                  <a:pt x="724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4" name="Group 83"/>
          <p:cNvGrpSpPr/>
          <p:nvPr/>
        </p:nvGrpSpPr>
        <p:grpSpPr>
          <a:xfrm>
            <a:off x="6300435" y="3402151"/>
            <a:ext cx="2303955" cy="2622834"/>
            <a:chOff x="430213" y="3070225"/>
            <a:chExt cx="2190750" cy="2493963"/>
          </a:xfrm>
          <a:effectLst/>
        </p:grpSpPr>
        <p:sp>
          <p:nvSpPr>
            <p:cNvPr id="35" name="Freeform 11"/>
            <p:cNvSpPr>
              <a:spLocks/>
            </p:cNvSpPr>
            <p:nvPr/>
          </p:nvSpPr>
          <p:spPr bwMode="auto">
            <a:xfrm>
              <a:off x="430213" y="3317875"/>
              <a:ext cx="2108200" cy="1995488"/>
            </a:xfrm>
            <a:custGeom>
              <a:avLst/>
              <a:gdLst/>
              <a:ahLst/>
              <a:cxnLst>
                <a:cxn ang="0">
                  <a:pos x="664" y="0"/>
                </a:cxn>
                <a:cxn ang="0">
                  <a:pos x="755" y="6"/>
                </a:cxn>
                <a:cxn ang="0">
                  <a:pos x="842" y="21"/>
                </a:cxn>
                <a:cxn ang="0">
                  <a:pos x="924" y="50"/>
                </a:cxn>
                <a:cxn ang="0">
                  <a:pos x="999" y="86"/>
                </a:cxn>
                <a:cxn ang="0">
                  <a:pos x="1071" y="132"/>
                </a:cxn>
                <a:cxn ang="0">
                  <a:pos x="1134" y="184"/>
                </a:cxn>
                <a:cxn ang="0">
                  <a:pos x="1190" y="244"/>
                </a:cxn>
                <a:cxn ang="0">
                  <a:pos x="1237" y="311"/>
                </a:cxn>
                <a:cxn ang="0">
                  <a:pos x="1276" y="385"/>
                </a:cxn>
                <a:cxn ang="0">
                  <a:pos x="1304" y="463"/>
                </a:cxn>
                <a:cxn ang="0">
                  <a:pos x="1322" y="543"/>
                </a:cxn>
                <a:cxn ang="0">
                  <a:pos x="1328" y="629"/>
                </a:cxn>
                <a:cxn ang="0">
                  <a:pos x="1322" y="714"/>
                </a:cxn>
                <a:cxn ang="0">
                  <a:pos x="1304" y="796"/>
                </a:cxn>
                <a:cxn ang="0">
                  <a:pos x="1276" y="874"/>
                </a:cxn>
                <a:cxn ang="0">
                  <a:pos x="1237" y="945"/>
                </a:cxn>
                <a:cxn ang="0">
                  <a:pos x="1190" y="1012"/>
                </a:cxn>
                <a:cxn ang="0">
                  <a:pos x="1134" y="1073"/>
                </a:cxn>
                <a:cxn ang="0">
                  <a:pos x="1071" y="1127"/>
                </a:cxn>
                <a:cxn ang="0">
                  <a:pos x="999" y="1170"/>
                </a:cxn>
                <a:cxn ang="0">
                  <a:pos x="924" y="1207"/>
                </a:cxn>
                <a:cxn ang="0">
                  <a:pos x="842" y="1235"/>
                </a:cxn>
                <a:cxn ang="0">
                  <a:pos x="755" y="1250"/>
                </a:cxn>
                <a:cxn ang="0">
                  <a:pos x="664" y="1257"/>
                </a:cxn>
                <a:cxn ang="0">
                  <a:pos x="573" y="1250"/>
                </a:cxn>
                <a:cxn ang="0">
                  <a:pos x="489" y="1235"/>
                </a:cxn>
                <a:cxn ang="0">
                  <a:pos x="407" y="1207"/>
                </a:cxn>
                <a:cxn ang="0">
                  <a:pos x="329" y="1170"/>
                </a:cxn>
                <a:cxn ang="0">
                  <a:pos x="260" y="1127"/>
                </a:cxn>
                <a:cxn ang="0">
                  <a:pos x="195" y="1073"/>
                </a:cxn>
                <a:cxn ang="0">
                  <a:pos x="139" y="1012"/>
                </a:cxn>
                <a:cxn ang="0">
                  <a:pos x="91" y="945"/>
                </a:cxn>
                <a:cxn ang="0">
                  <a:pos x="52" y="874"/>
                </a:cxn>
                <a:cxn ang="0">
                  <a:pos x="24" y="796"/>
                </a:cxn>
                <a:cxn ang="0">
                  <a:pos x="7" y="714"/>
                </a:cxn>
                <a:cxn ang="0">
                  <a:pos x="0" y="629"/>
                </a:cxn>
                <a:cxn ang="0">
                  <a:pos x="7" y="543"/>
                </a:cxn>
                <a:cxn ang="0">
                  <a:pos x="24" y="463"/>
                </a:cxn>
                <a:cxn ang="0">
                  <a:pos x="52" y="385"/>
                </a:cxn>
                <a:cxn ang="0">
                  <a:pos x="91" y="311"/>
                </a:cxn>
                <a:cxn ang="0">
                  <a:pos x="139" y="244"/>
                </a:cxn>
                <a:cxn ang="0">
                  <a:pos x="195" y="184"/>
                </a:cxn>
                <a:cxn ang="0">
                  <a:pos x="260" y="132"/>
                </a:cxn>
                <a:cxn ang="0">
                  <a:pos x="329" y="86"/>
                </a:cxn>
                <a:cxn ang="0">
                  <a:pos x="407" y="50"/>
                </a:cxn>
                <a:cxn ang="0">
                  <a:pos x="489" y="21"/>
                </a:cxn>
                <a:cxn ang="0">
                  <a:pos x="573" y="6"/>
                </a:cxn>
                <a:cxn ang="0">
                  <a:pos x="664" y="0"/>
                </a:cxn>
              </a:cxnLst>
              <a:rect l="0" t="0" r="r" b="b"/>
              <a:pathLst>
                <a:path w="1328" h="1257">
                  <a:moveTo>
                    <a:pt x="664" y="0"/>
                  </a:moveTo>
                  <a:lnTo>
                    <a:pt x="755" y="6"/>
                  </a:lnTo>
                  <a:lnTo>
                    <a:pt x="842" y="21"/>
                  </a:lnTo>
                  <a:lnTo>
                    <a:pt x="924" y="50"/>
                  </a:lnTo>
                  <a:lnTo>
                    <a:pt x="999" y="86"/>
                  </a:lnTo>
                  <a:lnTo>
                    <a:pt x="1071" y="132"/>
                  </a:lnTo>
                  <a:lnTo>
                    <a:pt x="1134" y="184"/>
                  </a:lnTo>
                  <a:lnTo>
                    <a:pt x="1190" y="244"/>
                  </a:lnTo>
                  <a:lnTo>
                    <a:pt x="1237" y="311"/>
                  </a:lnTo>
                  <a:lnTo>
                    <a:pt x="1276" y="385"/>
                  </a:lnTo>
                  <a:lnTo>
                    <a:pt x="1304" y="463"/>
                  </a:lnTo>
                  <a:lnTo>
                    <a:pt x="1322" y="543"/>
                  </a:lnTo>
                  <a:lnTo>
                    <a:pt x="1328" y="629"/>
                  </a:lnTo>
                  <a:lnTo>
                    <a:pt x="1322" y="714"/>
                  </a:lnTo>
                  <a:lnTo>
                    <a:pt x="1304" y="796"/>
                  </a:lnTo>
                  <a:lnTo>
                    <a:pt x="1276" y="874"/>
                  </a:lnTo>
                  <a:lnTo>
                    <a:pt x="1237" y="945"/>
                  </a:lnTo>
                  <a:lnTo>
                    <a:pt x="1190" y="1012"/>
                  </a:lnTo>
                  <a:lnTo>
                    <a:pt x="1134" y="1073"/>
                  </a:lnTo>
                  <a:lnTo>
                    <a:pt x="1071" y="1127"/>
                  </a:lnTo>
                  <a:lnTo>
                    <a:pt x="999" y="1170"/>
                  </a:lnTo>
                  <a:lnTo>
                    <a:pt x="924" y="1207"/>
                  </a:lnTo>
                  <a:lnTo>
                    <a:pt x="842" y="1235"/>
                  </a:lnTo>
                  <a:lnTo>
                    <a:pt x="755" y="1250"/>
                  </a:lnTo>
                  <a:lnTo>
                    <a:pt x="664" y="1257"/>
                  </a:lnTo>
                  <a:lnTo>
                    <a:pt x="573" y="1250"/>
                  </a:lnTo>
                  <a:lnTo>
                    <a:pt x="489" y="1235"/>
                  </a:lnTo>
                  <a:lnTo>
                    <a:pt x="407" y="1207"/>
                  </a:lnTo>
                  <a:lnTo>
                    <a:pt x="329" y="1170"/>
                  </a:lnTo>
                  <a:lnTo>
                    <a:pt x="260" y="1127"/>
                  </a:lnTo>
                  <a:lnTo>
                    <a:pt x="195" y="1073"/>
                  </a:lnTo>
                  <a:lnTo>
                    <a:pt x="139" y="1012"/>
                  </a:lnTo>
                  <a:lnTo>
                    <a:pt x="91" y="945"/>
                  </a:lnTo>
                  <a:lnTo>
                    <a:pt x="52" y="874"/>
                  </a:lnTo>
                  <a:lnTo>
                    <a:pt x="24" y="796"/>
                  </a:lnTo>
                  <a:lnTo>
                    <a:pt x="7" y="714"/>
                  </a:lnTo>
                  <a:lnTo>
                    <a:pt x="0" y="629"/>
                  </a:lnTo>
                  <a:lnTo>
                    <a:pt x="7" y="543"/>
                  </a:lnTo>
                  <a:lnTo>
                    <a:pt x="24" y="463"/>
                  </a:lnTo>
                  <a:lnTo>
                    <a:pt x="52" y="385"/>
                  </a:lnTo>
                  <a:lnTo>
                    <a:pt x="91" y="311"/>
                  </a:lnTo>
                  <a:lnTo>
                    <a:pt x="139" y="244"/>
                  </a:lnTo>
                  <a:lnTo>
                    <a:pt x="195" y="184"/>
                  </a:lnTo>
                  <a:lnTo>
                    <a:pt x="260" y="132"/>
                  </a:lnTo>
                  <a:lnTo>
                    <a:pt x="329" y="86"/>
                  </a:lnTo>
                  <a:lnTo>
                    <a:pt x="407" y="50"/>
                  </a:lnTo>
                  <a:lnTo>
                    <a:pt x="489" y="21"/>
                  </a:lnTo>
                  <a:lnTo>
                    <a:pt x="573" y="6"/>
                  </a:lnTo>
                  <a:lnTo>
                    <a:pt x="664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auto">
            <a:xfrm>
              <a:off x="450851" y="3070225"/>
              <a:ext cx="889000" cy="1068388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206" y="4"/>
                </a:cxn>
                <a:cxn ang="0">
                  <a:pos x="253" y="17"/>
                </a:cxn>
                <a:cxn ang="0">
                  <a:pos x="301" y="39"/>
                </a:cxn>
                <a:cxn ang="0">
                  <a:pos x="348" y="71"/>
                </a:cxn>
                <a:cxn ang="0">
                  <a:pos x="394" y="110"/>
                </a:cxn>
                <a:cxn ang="0">
                  <a:pos x="437" y="158"/>
                </a:cxn>
                <a:cxn ang="0">
                  <a:pos x="476" y="212"/>
                </a:cxn>
                <a:cxn ang="0">
                  <a:pos x="506" y="264"/>
                </a:cxn>
                <a:cxn ang="0">
                  <a:pos x="530" y="316"/>
                </a:cxn>
                <a:cxn ang="0">
                  <a:pos x="545" y="368"/>
                </a:cxn>
                <a:cxn ang="0">
                  <a:pos x="556" y="420"/>
                </a:cxn>
                <a:cxn ang="0">
                  <a:pos x="560" y="469"/>
                </a:cxn>
                <a:cxn ang="0">
                  <a:pos x="558" y="515"/>
                </a:cxn>
                <a:cxn ang="0">
                  <a:pos x="547" y="556"/>
                </a:cxn>
                <a:cxn ang="0">
                  <a:pos x="532" y="593"/>
                </a:cxn>
                <a:cxn ang="0">
                  <a:pos x="508" y="625"/>
                </a:cxn>
                <a:cxn ang="0">
                  <a:pos x="480" y="649"/>
                </a:cxn>
                <a:cxn ang="0">
                  <a:pos x="441" y="666"/>
                </a:cxn>
                <a:cxn ang="0">
                  <a:pos x="400" y="673"/>
                </a:cxn>
                <a:cxn ang="0">
                  <a:pos x="355" y="671"/>
                </a:cxn>
                <a:cxn ang="0">
                  <a:pos x="307" y="658"/>
                </a:cxn>
                <a:cxn ang="0">
                  <a:pos x="260" y="634"/>
                </a:cxn>
                <a:cxn ang="0">
                  <a:pos x="212" y="604"/>
                </a:cxn>
                <a:cxn ang="0">
                  <a:pos x="167" y="565"/>
                </a:cxn>
                <a:cxn ang="0">
                  <a:pos x="123" y="517"/>
                </a:cxn>
                <a:cxn ang="0">
                  <a:pos x="84" y="463"/>
                </a:cxn>
                <a:cxn ang="0">
                  <a:pos x="54" y="411"/>
                </a:cxn>
                <a:cxn ang="0">
                  <a:pos x="30" y="357"/>
                </a:cxn>
                <a:cxn ang="0">
                  <a:pos x="15" y="305"/>
                </a:cxn>
                <a:cxn ang="0">
                  <a:pos x="4" y="253"/>
                </a:cxn>
                <a:cxn ang="0">
                  <a:pos x="0" y="206"/>
                </a:cxn>
                <a:cxn ang="0">
                  <a:pos x="2" y="160"/>
                </a:cxn>
                <a:cxn ang="0">
                  <a:pos x="13" y="117"/>
                </a:cxn>
                <a:cxn ang="0">
                  <a:pos x="28" y="80"/>
                </a:cxn>
                <a:cxn ang="0">
                  <a:pos x="52" y="50"/>
                </a:cxn>
                <a:cxn ang="0">
                  <a:pos x="80" y="24"/>
                </a:cxn>
                <a:cxn ang="0">
                  <a:pos x="119" y="7"/>
                </a:cxn>
                <a:cxn ang="0">
                  <a:pos x="160" y="0"/>
                </a:cxn>
              </a:cxnLst>
              <a:rect l="0" t="0" r="r" b="b"/>
              <a:pathLst>
                <a:path w="560" h="673">
                  <a:moveTo>
                    <a:pt x="160" y="0"/>
                  </a:moveTo>
                  <a:lnTo>
                    <a:pt x="206" y="4"/>
                  </a:lnTo>
                  <a:lnTo>
                    <a:pt x="253" y="17"/>
                  </a:lnTo>
                  <a:lnTo>
                    <a:pt x="301" y="39"/>
                  </a:lnTo>
                  <a:lnTo>
                    <a:pt x="348" y="71"/>
                  </a:lnTo>
                  <a:lnTo>
                    <a:pt x="394" y="110"/>
                  </a:lnTo>
                  <a:lnTo>
                    <a:pt x="437" y="158"/>
                  </a:lnTo>
                  <a:lnTo>
                    <a:pt x="476" y="212"/>
                  </a:lnTo>
                  <a:lnTo>
                    <a:pt x="506" y="264"/>
                  </a:lnTo>
                  <a:lnTo>
                    <a:pt x="530" y="316"/>
                  </a:lnTo>
                  <a:lnTo>
                    <a:pt x="545" y="368"/>
                  </a:lnTo>
                  <a:lnTo>
                    <a:pt x="556" y="420"/>
                  </a:lnTo>
                  <a:lnTo>
                    <a:pt x="560" y="469"/>
                  </a:lnTo>
                  <a:lnTo>
                    <a:pt x="558" y="515"/>
                  </a:lnTo>
                  <a:lnTo>
                    <a:pt x="547" y="556"/>
                  </a:lnTo>
                  <a:lnTo>
                    <a:pt x="532" y="593"/>
                  </a:lnTo>
                  <a:lnTo>
                    <a:pt x="508" y="625"/>
                  </a:lnTo>
                  <a:lnTo>
                    <a:pt x="480" y="649"/>
                  </a:lnTo>
                  <a:lnTo>
                    <a:pt x="441" y="666"/>
                  </a:lnTo>
                  <a:lnTo>
                    <a:pt x="400" y="673"/>
                  </a:lnTo>
                  <a:lnTo>
                    <a:pt x="355" y="671"/>
                  </a:lnTo>
                  <a:lnTo>
                    <a:pt x="307" y="658"/>
                  </a:lnTo>
                  <a:lnTo>
                    <a:pt x="260" y="634"/>
                  </a:lnTo>
                  <a:lnTo>
                    <a:pt x="212" y="604"/>
                  </a:lnTo>
                  <a:lnTo>
                    <a:pt x="167" y="565"/>
                  </a:lnTo>
                  <a:lnTo>
                    <a:pt x="123" y="517"/>
                  </a:lnTo>
                  <a:lnTo>
                    <a:pt x="84" y="463"/>
                  </a:lnTo>
                  <a:lnTo>
                    <a:pt x="54" y="411"/>
                  </a:lnTo>
                  <a:lnTo>
                    <a:pt x="30" y="357"/>
                  </a:lnTo>
                  <a:lnTo>
                    <a:pt x="15" y="305"/>
                  </a:lnTo>
                  <a:lnTo>
                    <a:pt x="4" y="253"/>
                  </a:lnTo>
                  <a:lnTo>
                    <a:pt x="0" y="206"/>
                  </a:lnTo>
                  <a:lnTo>
                    <a:pt x="2" y="160"/>
                  </a:lnTo>
                  <a:lnTo>
                    <a:pt x="13" y="117"/>
                  </a:lnTo>
                  <a:lnTo>
                    <a:pt x="28" y="80"/>
                  </a:lnTo>
                  <a:lnTo>
                    <a:pt x="52" y="50"/>
                  </a:lnTo>
                  <a:lnTo>
                    <a:pt x="80" y="24"/>
                  </a:lnTo>
                  <a:lnTo>
                    <a:pt x="119" y="7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13"/>
            <p:cNvSpPr>
              <a:spLocks/>
            </p:cNvSpPr>
            <p:nvPr/>
          </p:nvSpPr>
          <p:spPr bwMode="auto">
            <a:xfrm>
              <a:off x="1731963" y="3070225"/>
              <a:ext cx="889000" cy="1068388"/>
            </a:xfrm>
            <a:custGeom>
              <a:avLst/>
              <a:gdLst/>
              <a:ahLst/>
              <a:cxnLst>
                <a:cxn ang="0">
                  <a:pos x="400" y="0"/>
                </a:cxn>
                <a:cxn ang="0">
                  <a:pos x="441" y="7"/>
                </a:cxn>
                <a:cxn ang="0">
                  <a:pos x="480" y="24"/>
                </a:cxn>
                <a:cxn ang="0">
                  <a:pos x="508" y="50"/>
                </a:cxn>
                <a:cxn ang="0">
                  <a:pos x="532" y="80"/>
                </a:cxn>
                <a:cxn ang="0">
                  <a:pos x="547" y="117"/>
                </a:cxn>
                <a:cxn ang="0">
                  <a:pos x="558" y="160"/>
                </a:cxn>
                <a:cxn ang="0">
                  <a:pos x="560" y="206"/>
                </a:cxn>
                <a:cxn ang="0">
                  <a:pos x="556" y="253"/>
                </a:cxn>
                <a:cxn ang="0">
                  <a:pos x="545" y="305"/>
                </a:cxn>
                <a:cxn ang="0">
                  <a:pos x="530" y="357"/>
                </a:cxn>
                <a:cxn ang="0">
                  <a:pos x="506" y="411"/>
                </a:cxn>
                <a:cxn ang="0">
                  <a:pos x="476" y="463"/>
                </a:cxn>
                <a:cxn ang="0">
                  <a:pos x="437" y="517"/>
                </a:cxn>
                <a:cxn ang="0">
                  <a:pos x="394" y="565"/>
                </a:cxn>
                <a:cxn ang="0">
                  <a:pos x="348" y="604"/>
                </a:cxn>
                <a:cxn ang="0">
                  <a:pos x="301" y="634"/>
                </a:cxn>
                <a:cxn ang="0">
                  <a:pos x="253" y="658"/>
                </a:cxn>
                <a:cxn ang="0">
                  <a:pos x="205" y="671"/>
                </a:cxn>
                <a:cxn ang="0">
                  <a:pos x="160" y="673"/>
                </a:cxn>
                <a:cxn ang="0">
                  <a:pos x="119" y="666"/>
                </a:cxn>
                <a:cxn ang="0">
                  <a:pos x="80" y="649"/>
                </a:cxn>
                <a:cxn ang="0">
                  <a:pos x="52" y="625"/>
                </a:cxn>
                <a:cxn ang="0">
                  <a:pos x="28" y="593"/>
                </a:cxn>
                <a:cxn ang="0">
                  <a:pos x="13" y="556"/>
                </a:cxn>
                <a:cxn ang="0">
                  <a:pos x="2" y="515"/>
                </a:cxn>
                <a:cxn ang="0">
                  <a:pos x="0" y="469"/>
                </a:cxn>
                <a:cxn ang="0">
                  <a:pos x="4" y="420"/>
                </a:cxn>
                <a:cxn ang="0">
                  <a:pos x="15" y="368"/>
                </a:cxn>
                <a:cxn ang="0">
                  <a:pos x="30" y="316"/>
                </a:cxn>
                <a:cxn ang="0">
                  <a:pos x="54" y="264"/>
                </a:cxn>
                <a:cxn ang="0">
                  <a:pos x="84" y="212"/>
                </a:cxn>
                <a:cxn ang="0">
                  <a:pos x="123" y="158"/>
                </a:cxn>
                <a:cxn ang="0">
                  <a:pos x="166" y="110"/>
                </a:cxn>
                <a:cxn ang="0">
                  <a:pos x="212" y="71"/>
                </a:cxn>
                <a:cxn ang="0">
                  <a:pos x="259" y="39"/>
                </a:cxn>
                <a:cxn ang="0">
                  <a:pos x="307" y="17"/>
                </a:cxn>
                <a:cxn ang="0">
                  <a:pos x="355" y="4"/>
                </a:cxn>
                <a:cxn ang="0">
                  <a:pos x="400" y="0"/>
                </a:cxn>
              </a:cxnLst>
              <a:rect l="0" t="0" r="r" b="b"/>
              <a:pathLst>
                <a:path w="560" h="673">
                  <a:moveTo>
                    <a:pt x="400" y="0"/>
                  </a:moveTo>
                  <a:lnTo>
                    <a:pt x="441" y="7"/>
                  </a:lnTo>
                  <a:lnTo>
                    <a:pt x="480" y="24"/>
                  </a:lnTo>
                  <a:lnTo>
                    <a:pt x="508" y="50"/>
                  </a:lnTo>
                  <a:lnTo>
                    <a:pt x="532" y="80"/>
                  </a:lnTo>
                  <a:lnTo>
                    <a:pt x="547" y="117"/>
                  </a:lnTo>
                  <a:lnTo>
                    <a:pt x="558" y="160"/>
                  </a:lnTo>
                  <a:lnTo>
                    <a:pt x="560" y="206"/>
                  </a:lnTo>
                  <a:lnTo>
                    <a:pt x="556" y="253"/>
                  </a:lnTo>
                  <a:lnTo>
                    <a:pt x="545" y="305"/>
                  </a:lnTo>
                  <a:lnTo>
                    <a:pt x="530" y="357"/>
                  </a:lnTo>
                  <a:lnTo>
                    <a:pt x="506" y="411"/>
                  </a:lnTo>
                  <a:lnTo>
                    <a:pt x="476" y="463"/>
                  </a:lnTo>
                  <a:lnTo>
                    <a:pt x="437" y="517"/>
                  </a:lnTo>
                  <a:lnTo>
                    <a:pt x="394" y="565"/>
                  </a:lnTo>
                  <a:lnTo>
                    <a:pt x="348" y="604"/>
                  </a:lnTo>
                  <a:lnTo>
                    <a:pt x="301" y="634"/>
                  </a:lnTo>
                  <a:lnTo>
                    <a:pt x="253" y="658"/>
                  </a:lnTo>
                  <a:lnTo>
                    <a:pt x="205" y="671"/>
                  </a:lnTo>
                  <a:lnTo>
                    <a:pt x="160" y="673"/>
                  </a:lnTo>
                  <a:lnTo>
                    <a:pt x="119" y="666"/>
                  </a:lnTo>
                  <a:lnTo>
                    <a:pt x="80" y="649"/>
                  </a:lnTo>
                  <a:lnTo>
                    <a:pt x="52" y="625"/>
                  </a:lnTo>
                  <a:lnTo>
                    <a:pt x="28" y="593"/>
                  </a:lnTo>
                  <a:lnTo>
                    <a:pt x="13" y="556"/>
                  </a:lnTo>
                  <a:lnTo>
                    <a:pt x="2" y="515"/>
                  </a:lnTo>
                  <a:lnTo>
                    <a:pt x="0" y="469"/>
                  </a:lnTo>
                  <a:lnTo>
                    <a:pt x="4" y="420"/>
                  </a:lnTo>
                  <a:lnTo>
                    <a:pt x="15" y="368"/>
                  </a:lnTo>
                  <a:lnTo>
                    <a:pt x="30" y="316"/>
                  </a:lnTo>
                  <a:lnTo>
                    <a:pt x="54" y="264"/>
                  </a:lnTo>
                  <a:lnTo>
                    <a:pt x="84" y="212"/>
                  </a:lnTo>
                  <a:lnTo>
                    <a:pt x="123" y="158"/>
                  </a:lnTo>
                  <a:lnTo>
                    <a:pt x="166" y="110"/>
                  </a:lnTo>
                  <a:lnTo>
                    <a:pt x="212" y="71"/>
                  </a:lnTo>
                  <a:lnTo>
                    <a:pt x="259" y="39"/>
                  </a:lnTo>
                  <a:lnTo>
                    <a:pt x="307" y="17"/>
                  </a:lnTo>
                  <a:lnTo>
                    <a:pt x="355" y="4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>
              <a:off x="681038" y="4849813"/>
              <a:ext cx="708025" cy="714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2"/>
                </a:cxn>
                <a:cxn ang="0">
                  <a:pos x="9" y="8"/>
                </a:cxn>
                <a:cxn ang="0">
                  <a:pos x="19" y="15"/>
                </a:cxn>
                <a:cxn ang="0">
                  <a:pos x="37" y="23"/>
                </a:cxn>
                <a:cxn ang="0">
                  <a:pos x="58" y="36"/>
                </a:cxn>
                <a:cxn ang="0">
                  <a:pos x="91" y="54"/>
                </a:cxn>
                <a:cxn ang="0">
                  <a:pos x="115" y="65"/>
                </a:cxn>
                <a:cxn ang="0">
                  <a:pos x="147" y="77"/>
                </a:cxn>
                <a:cxn ang="0">
                  <a:pos x="182" y="90"/>
                </a:cxn>
                <a:cxn ang="0">
                  <a:pos x="221" y="106"/>
                </a:cxn>
                <a:cxn ang="0">
                  <a:pos x="260" y="119"/>
                </a:cxn>
                <a:cxn ang="0">
                  <a:pos x="301" y="132"/>
                </a:cxn>
                <a:cxn ang="0">
                  <a:pos x="337" y="145"/>
                </a:cxn>
                <a:cxn ang="0">
                  <a:pos x="372" y="155"/>
                </a:cxn>
                <a:cxn ang="0">
                  <a:pos x="402" y="164"/>
                </a:cxn>
                <a:cxn ang="0">
                  <a:pos x="426" y="171"/>
                </a:cxn>
                <a:cxn ang="0">
                  <a:pos x="441" y="175"/>
                </a:cxn>
                <a:cxn ang="0">
                  <a:pos x="446" y="177"/>
                </a:cxn>
                <a:cxn ang="0">
                  <a:pos x="443" y="183"/>
                </a:cxn>
                <a:cxn ang="0">
                  <a:pos x="437" y="199"/>
                </a:cxn>
                <a:cxn ang="0">
                  <a:pos x="428" y="225"/>
                </a:cxn>
                <a:cxn ang="0">
                  <a:pos x="420" y="257"/>
                </a:cxn>
                <a:cxn ang="0">
                  <a:pos x="409" y="296"/>
                </a:cxn>
                <a:cxn ang="0">
                  <a:pos x="398" y="337"/>
                </a:cxn>
                <a:cxn ang="0">
                  <a:pos x="387" y="367"/>
                </a:cxn>
                <a:cxn ang="0">
                  <a:pos x="368" y="391"/>
                </a:cxn>
                <a:cxn ang="0">
                  <a:pos x="342" y="411"/>
                </a:cxn>
                <a:cxn ang="0">
                  <a:pos x="309" y="426"/>
                </a:cxn>
                <a:cxn ang="0">
                  <a:pos x="275" y="437"/>
                </a:cxn>
                <a:cxn ang="0">
                  <a:pos x="236" y="445"/>
                </a:cxn>
                <a:cxn ang="0">
                  <a:pos x="158" y="450"/>
                </a:cxn>
                <a:cxn ang="0">
                  <a:pos x="128" y="445"/>
                </a:cxn>
                <a:cxn ang="0">
                  <a:pos x="106" y="437"/>
                </a:cxn>
                <a:cxn ang="0">
                  <a:pos x="91" y="426"/>
                </a:cxn>
                <a:cxn ang="0">
                  <a:pos x="80" y="411"/>
                </a:cxn>
                <a:cxn ang="0">
                  <a:pos x="74" y="393"/>
                </a:cxn>
                <a:cxn ang="0">
                  <a:pos x="71" y="378"/>
                </a:cxn>
                <a:cxn ang="0">
                  <a:pos x="71" y="367"/>
                </a:cxn>
                <a:cxn ang="0">
                  <a:pos x="74" y="359"/>
                </a:cxn>
                <a:cxn ang="0">
                  <a:pos x="74" y="354"/>
                </a:cxn>
                <a:cxn ang="0">
                  <a:pos x="69" y="283"/>
                </a:cxn>
                <a:cxn ang="0">
                  <a:pos x="63" y="218"/>
                </a:cxn>
                <a:cxn ang="0">
                  <a:pos x="52" y="162"/>
                </a:cxn>
                <a:cxn ang="0">
                  <a:pos x="41" y="114"/>
                </a:cxn>
                <a:cxn ang="0">
                  <a:pos x="30" y="73"/>
                </a:cxn>
                <a:cxn ang="0">
                  <a:pos x="9" y="19"/>
                </a:cxn>
                <a:cxn ang="0">
                  <a:pos x="2" y="4"/>
                </a:cxn>
                <a:cxn ang="0">
                  <a:pos x="0" y="0"/>
                </a:cxn>
              </a:cxnLst>
              <a:rect l="0" t="0" r="r" b="b"/>
              <a:pathLst>
                <a:path w="446" h="450">
                  <a:moveTo>
                    <a:pt x="0" y="0"/>
                  </a:moveTo>
                  <a:lnTo>
                    <a:pt x="4" y="2"/>
                  </a:lnTo>
                  <a:lnTo>
                    <a:pt x="9" y="8"/>
                  </a:lnTo>
                  <a:lnTo>
                    <a:pt x="19" y="15"/>
                  </a:lnTo>
                  <a:lnTo>
                    <a:pt x="37" y="23"/>
                  </a:lnTo>
                  <a:lnTo>
                    <a:pt x="58" y="36"/>
                  </a:lnTo>
                  <a:lnTo>
                    <a:pt x="91" y="54"/>
                  </a:lnTo>
                  <a:lnTo>
                    <a:pt x="115" y="65"/>
                  </a:lnTo>
                  <a:lnTo>
                    <a:pt x="147" y="77"/>
                  </a:lnTo>
                  <a:lnTo>
                    <a:pt x="182" y="90"/>
                  </a:lnTo>
                  <a:lnTo>
                    <a:pt x="221" y="106"/>
                  </a:lnTo>
                  <a:lnTo>
                    <a:pt x="260" y="119"/>
                  </a:lnTo>
                  <a:lnTo>
                    <a:pt x="301" y="132"/>
                  </a:lnTo>
                  <a:lnTo>
                    <a:pt x="337" y="145"/>
                  </a:lnTo>
                  <a:lnTo>
                    <a:pt x="372" y="155"/>
                  </a:lnTo>
                  <a:lnTo>
                    <a:pt x="402" y="164"/>
                  </a:lnTo>
                  <a:lnTo>
                    <a:pt x="426" y="171"/>
                  </a:lnTo>
                  <a:lnTo>
                    <a:pt x="441" y="175"/>
                  </a:lnTo>
                  <a:lnTo>
                    <a:pt x="446" y="177"/>
                  </a:lnTo>
                  <a:lnTo>
                    <a:pt x="443" y="183"/>
                  </a:lnTo>
                  <a:lnTo>
                    <a:pt x="437" y="199"/>
                  </a:lnTo>
                  <a:lnTo>
                    <a:pt x="428" y="225"/>
                  </a:lnTo>
                  <a:lnTo>
                    <a:pt x="420" y="257"/>
                  </a:lnTo>
                  <a:lnTo>
                    <a:pt x="409" y="296"/>
                  </a:lnTo>
                  <a:lnTo>
                    <a:pt x="398" y="337"/>
                  </a:lnTo>
                  <a:lnTo>
                    <a:pt x="387" y="367"/>
                  </a:lnTo>
                  <a:lnTo>
                    <a:pt x="368" y="391"/>
                  </a:lnTo>
                  <a:lnTo>
                    <a:pt x="342" y="411"/>
                  </a:lnTo>
                  <a:lnTo>
                    <a:pt x="309" y="426"/>
                  </a:lnTo>
                  <a:lnTo>
                    <a:pt x="275" y="437"/>
                  </a:lnTo>
                  <a:lnTo>
                    <a:pt x="236" y="445"/>
                  </a:lnTo>
                  <a:lnTo>
                    <a:pt x="158" y="450"/>
                  </a:lnTo>
                  <a:lnTo>
                    <a:pt x="128" y="445"/>
                  </a:lnTo>
                  <a:lnTo>
                    <a:pt x="106" y="437"/>
                  </a:lnTo>
                  <a:lnTo>
                    <a:pt x="91" y="426"/>
                  </a:lnTo>
                  <a:lnTo>
                    <a:pt x="80" y="411"/>
                  </a:lnTo>
                  <a:lnTo>
                    <a:pt x="74" y="393"/>
                  </a:lnTo>
                  <a:lnTo>
                    <a:pt x="71" y="378"/>
                  </a:lnTo>
                  <a:lnTo>
                    <a:pt x="71" y="367"/>
                  </a:lnTo>
                  <a:lnTo>
                    <a:pt x="74" y="359"/>
                  </a:lnTo>
                  <a:lnTo>
                    <a:pt x="74" y="354"/>
                  </a:lnTo>
                  <a:lnTo>
                    <a:pt x="69" y="283"/>
                  </a:lnTo>
                  <a:lnTo>
                    <a:pt x="63" y="218"/>
                  </a:lnTo>
                  <a:lnTo>
                    <a:pt x="52" y="162"/>
                  </a:lnTo>
                  <a:lnTo>
                    <a:pt x="41" y="114"/>
                  </a:lnTo>
                  <a:lnTo>
                    <a:pt x="30" y="73"/>
                  </a:lnTo>
                  <a:lnTo>
                    <a:pt x="9" y="19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15"/>
            <p:cNvSpPr>
              <a:spLocks/>
            </p:cNvSpPr>
            <p:nvPr/>
          </p:nvSpPr>
          <p:spPr bwMode="auto">
            <a:xfrm>
              <a:off x="1598613" y="4849813"/>
              <a:ext cx="706438" cy="714375"/>
            </a:xfrm>
            <a:custGeom>
              <a:avLst/>
              <a:gdLst/>
              <a:ahLst/>
              <a:cxnLst>
                <a:cxn ang="0">
                  <a:pos x="445" y="0"/>
                </a:cxn>
                <a:cxn ang="0">
                  <a:pos x="443" y="4"/>
                </a:cxn>
                <a:cxn ang="0">
                  <a:pos x="436" y="19"/>
                </a:cxn>
                <a:cxn ang="0">
                  <a:pos x="415" y="73"/>
                </a:cxn>
                <a:cxn ang="0">
                  <a:pos x="404" y="114"/>
                </a:cxn>
                <a:cxn ang="0">
                  <a:pos x="393" y="162"/>
                </a:cxn>
                <a:cxn ang="0">
                  <a:pos x="382" y="218"/>
                </a:cxn>
                <a:cxn ang="0">
                  <a:pos x="376" y="283"/>
                </a:cxn>
                <a:cxn ang="0">
                  <a:pos x="372" y="354"/>
                </a:cxn>
                <a:cxn ang="0">
                  <a:pos x="372" y="359"/>
                </a:cxn>
                <a:cxn ang="0">
                  <a:pos x="374" y="367"/>
                </a:cxn>
                <a:cxn ang="0">
                  <a:pos x="374" y="378"/>
                </a:cxn>
                <a:cxn ang="0">
                  <a:pos x="372" y="393"/>
                </a:cxn>
                <a:cxn ang="0">
                  <a:pos x="365" y="411"/>
                </a:cxn>
                <a:cxn ang="0">
                  <a:pos x="354" y="426"/>
                </a:cxn>
                <a:cxn ang="0">
                  <a:pos x="339" y="437"/>
                </a:cxn>
                <a:cxn ang="0">
                  <a:pos x="317" y="445"/>
                </a:cxn>
                <a:cxn ang="0">
                  <a:pos x="287" y="450"/>
                </a:cxn>
                <a:cxn ang="0">
                  <a:pos x="209" y="445"/>
                </a:cxn>
                <a:cxn ang="0">
                  <a:pos x="170" y="437"/>
                </a:cxn>
                <a:cxn ang="0">
                  <a:pos x="136" y="426"/>
                </a:cxn>
                <a:cxn ang="0">
                  <a:pos x="103" y="411"/>
                </a:cxn>
                <a:cxn ang="0">
                  <a:pos x="77" y="391"/>
                </a:cxn>
                <a:cxn ang="0">
                  <a:pos x="58" y="367"/>
                </a:cxn>
                <a:cxn ang="0">
                  <a:pos x="47" y="337"/>
                </a:cxn>
                <a:cxn ang="0">
                  <a:pos x="36" y="296"/>
                </a:cxn>
                <a:cxn ang="0">
                  <a:pos x="25" y="257"/>
                </a:cxn>
                <a:cxn ang="0">
                  <a:pos x="17" y="225"/>
                </a:cxn>
                <a:cxn ang="0">
                  <a:pos x="8" y="199"/>
                </a:cxn>
                <a:cxn ang="0">
                  <a:pos x="2" y="183"/>
                </a:cxn>
                <a:cxn ang="0">
                  <a:pos x="0" y="177"/>
                </a:cxn>
                <a:cxn ang="0">
                  <a:pos x="4" y="175"/>
                </a:cxn>
                <a:cxn ang="0">
                  <a:pos x="19" y="171"/>
                </a:cxn>
                <a:cxn ang="0">
                  <a:pos x="43" y="164"/>
                </a:cxn>
                <a:cxn ang="0">
                  <a:pos x="73" y="155"/>
                </a:cxn>
                <a:cxn ang="0">
                  <a:pos x="108" y="145"/>
                </a:cxn>
                <a:cxn ang="0">
                  <a:pos x="144" y="132"/>
                </a:cxn>
                <a:cxn ang="0">
                  <a:pos x="186" y="119"/>
                </a:cxn>
                <a:cxn ang="0">
                  <a:pos x="224" y="106"/>
                </a:cxn>
                <a:cxn ang="0">
                  <a:pos x="263" y="90"/>
                </a:cxn>
                <a:cxn ang="0">
                  <a:pos x="298" y="77"/>
                </a:cxn>
                <a:cxn ang="0">
                  <a:pos x="330" y="65"/>
                </a:cxn>
                <a:cxn ang="0">
                  <a:pos x="354" y="54"/>
                </a:cxn>
                <a:cxn ang="0">
                  <a:pos x="387" y="36"/>
                </a:cxn>
                <a:cxn ang="0">
                  <a:pos x="408" y="23"/>
                </a:cxn>
                <a:cxn ang="0">
                  <a:pos x="426" y="15"/>
                </a:cxn>
                <a:cxn ang="0">
                  <a:pos x="436" y="8"/>
                </a:cxn>
                <a:cxn ang="0">
                  <a:pos x="441" y="2"/>
                </a:cxn>
                <a:cxn ang="0">
                  <a:pos x="445" y="0"/>
                </a:cxn>
              </a:cxnLst>
              <a:rect l="0" t="0" r="r" b="b"/>
              <a:pathLst>
                <a:path w="445" h="450">
                  <a:moveTo>
                    <a:pt x="445" y="0"/>
                  </a:moveTo>
                  <a:lnTo>
                    <a:pt x="443" y="4"/>
                  </a:lnTo>
                  <a:lnTo>
                    <a:pt x="436" y="19"/>
                  </a:lnTo>
                  <a:lnTo>
                    <a:pt x="415" y="73"/>
                  </a:lnTo>
                  <a:lnTo>
                    <a:pt x="404" y="114"/>
                  </a:lnTo>
                  <a:lnTo>
                    <a:pt x="393" y="162"/>
                  </a:lnTo>
                  <a:lnTo>
                    <a:pt x="382" y="218"/>
                  </a:lnTo>
                  <a:lnTo>
                    <a:pt x="376" y="283"/>
                  </a:lnTo>
                  <a:lnTo>
                    <a:pt x="372" y="354"/>
                  </a:lnTo>
                  <a:lnTo>
                    <a:pt x="372" y="359"/>
                  </a:lnTo>
                  <a:lnTo>
                    <a:pt x="374" y="367"/>
                  </a:lnTo>
                  <a:lnTo>
                    <a:pt x="374" y="378"/>
                  </a:lnTo>
                  <a:lnTo>
                    <a:pt x="372" y="393"/>
                  </a:lnTo>
                  <a:lnTo>
                    <a:pt x="365" y="411"/>
                  </a:lnTo>
                  <a:lnTo>
                    <a:pt x="354" y="426"/>
                  </a:lnTo>
                  <a:lnTo>
                    <a:pt x="339" y="437"/>
                  </a:lnTo>
                  <a:lnTo>
                    <a:pt x="317" y="445"/>
                  </a:lnTo>
                  <a:lnTo>
                    <a:pt x="287" y="450"/>
                  </a:lnTo>
                  <a:lnTo>
                    <a:pt x="209" y="445"/>
                  </a:lnTo>
                  <a:lnTo>
                    <a:pt x="170" y="437"/>
                  </a:lnTo>
                  <a:lnTo>
                    <a:pt x="136" y="426"/>
                  </a:lnTo>
                  <a:lnTo>
                    <a:pt x="103" y="411"/>
                  </a:lnTo>
                  <a:lnTo>
                    <a:pt x="77" y="391"/>
                  </a:lnTo>
                  <a:lnTo>
                    <a:pt x="58" y="367"/>
                  </a:lnTo>
                  <a:lnTo>
                    <a:pt x="47" y="337"/>
                  </a:lnTo>
                  <a:lnTo>
                    <a:pt x="36" y="296"/>
                  </a:lnTo>
                  <a:lnTo>
                    <a:pt x="25" y="257"/>
                  </a:lnTo>
                  <a:lnTo>
                    <a:pt x="17" y="225"/>
                  </a:lnTo>
                  <a:lnTo>
                    <a:pt x="8" y="199"/>
                  </a:lnTo>
                  <a:lnTo>
                    <a:pt x="2" y="183"/>
                  </a:lnTo>
                  <a:lnTo>
                    <a:pt x="0" y="177"/>
                  </a:lnTo>
                  <a:lnTo>
                    <a:pt x="4" y="175"/>
                  </a:lnTo>
                  <a:lnTo>
                    <a:pt x="19" y="171"/>
                  </a:lnTo>
                  <a:lnTo>
                    <a:pt x="43" y="164"/>
                  </a:lnTo>
                  <a:lnTo>
                    <a:pt x="73" y="155"/>
                  </a:lnTo>
                  <a:lnTo>
                    <a:pt x="108" y="145"/>
                  </a:lnTo>
                  <a:lnTo>
                    <a:pt x="144" y="132"/>
                  </a:lnTo>
                  <a:lnTo>
                    <a:pt x="186" y="119"/>
                  </a:lnTo>
                  <a:lnTo>
                    <a:pt x="224" y="106"/>
                  </a:lnTo>
                  <a:lnTo>
                    <a:pt x="263" y="90"/>
                  </a:lnTo>
                  <a:lnTo>
                    <a:pt x="298" y="77"/>
                  </a:lnTo>
                  <a:lnTo>
                    <a:pt x="330" y="65"/>
                  </a:lnTo>
                  <a:lnTo>
                    <a:pt x="354" y="54"/>
                  </a:lnTo>
                  <a:lnTo>
                    <a:pt x="387" y="36"/>
                  </a:lnTo>
                  <a:lnTo>
                    <a:pt x="408" y="23"/>
                  </a:lnTo>
                  <a:lnTo>
                    <a:pt x="426" y="15"/>
                  </a:lnTo>
                  <a:lnTo>
                    <a:pt x="436" y="8"/>
                  </a:lnTo>
                  <a:lnTo>
                    <a:pt x="441" y="2"/>
                  </a:lnTo>
                  <a:lnTo>
                    <a:pt x="44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16"/>
            <p:cNvSpPr>
              <a:spLocks/>
            </p:cNvSpPr>
            <p:nvPr/>
          </p:nvSpPr>
          <p:spPr bwMode="auto">
            <a:xfrm>
              <a:off x="1150938" y="4406900"/>
              <a:ext cx="701675" cy="390525"/>
            </a:xfrm>
            <a:custGeom>
              <a:avLst/>
              <a:gdLst/>
              <a:ahLst/>
              <a:cxnLst>
                <a:cxn ang="0">
                  <a:pos x="221" y="0"/>
                </a:cxn>
                <a:cxn ang="0">
                  <a:pos x="271" y="2"/>
                </a:cxn>
                <a:cxn ang="0">
                  <a:pos x="318" y="13"/>
                </a:cxn>
                <a:cxn ang="0">
                  <a:pos x="359" y="26"/>
                </a:cxn>
                <a:cxn ang="0">
                  <a:pos x="392" y="45"/>
                </a:cxn>
                <a:cxn ang="0">
                  <a:pos x="420" y="69"/>
                </a:cxn>
                <a:cxn ang="0">
                  <a:pos x="435" y="95"/>
                </a:cxn>
                <a:cxn ang="0">
                  <a:pos x="442" y="123"/>
                </a:cxn>
                <a:cxn ang="0">
                  <a:pos x="435" y="151"/>
                </a:cxn>
                <a:cxn ang="0">
                  <a:pos x="420" y="177"/>
                </a:cxn>
                <a:cxn ang="0">
                  <a:pos x="392" y="199"/>
                </a:cxn>
                <a:cxn ang="0">
                  <a:pos x="359" y="218"/>
                </a:cxn>
                <a:cxn ang="0">
                  <a:pos x="318" y="233"/>
                </a:cxn>
                <a:cxn ang="0">
                  <a:pos x="271" y="242"/>
                </a:cxn>
                <a:cxn ang="0">
                  <a:pos x="221" y="246"/>
                </a:cxn>
                <a:cxn ang="0">
                  <a:pos x="171" y="242"/>
                </a:cxn>
                <a:cxn ang="0">
                  <a:pos x="124" y="233"/>
                </a:cxn>
                <a:cxn ang="0">
                  <a:pos x="83" y="218"/>
                </a:cxn>
                <a:cxn ang="0">
                  <a:pos x="50" y="199"/>
                </a:cxn>
                <a:cxn ang="0">
                  <a:pos x="22" y="177"/>
                </a:cxn>
                <a:cxn ang="0">
                  <a:pos x="7" y="151"/>
                </a:cxn>
                <a:cxn ang="0">
                  <a:pos x="0" y="123"/>
                </a:cxn>
                <a:cxn ang="0">
                  <a:pos x="7" y="95"/>
                </a:cxn>
                <a:cxn ang="0">
                  <a:pos x="22" y="69"/>
                </a:cxn>
                <a:cxn ang="0">
                  <a:pos x="50" y="45"/>
                </a:cxn>
                <a:cxn ang="0">
                  <a:pos x="83" y="26"/>
                </a:cxn>
                <a:cxn ang="0">
                  <a:pos x="124" y="13"/>
                </a:cxn>
                <a:cxn ang="0">
                  <a:pos x="171" y="2"/>
                </a:cxn>
                <a:cxn ang="0">
                  <a:pos x="221" y="0"/>
                </a:cxn>
              </a:cxnLst>
              <a:rect l="0" t="0" r="r" b="b"/>
              <a:pathLst>
                <a:path w="442" h="246">
                  <a:moveTo>
                    <a:pt x="221" y="0"/>
                  </a:moveTo>
                  <a:lnTo>
                    <a:pt x="271" y="2"/>
                  </a:lnTo>
                  <a:lnTo>
                    <a:pt x="318" y="13"/>
                  </a:lnTo>
                  <a:lnTo>
                    <a:pt x="359" y="26"/>
                  </a:lnTo>
                  <a:lnTo>
                    <a:pt x="392" y="45"/>
                  </a:lnTo>
                  <a:lnTo>
                    <a:pt x="420" y="69"/>
                  </a:lnTo>
                  <a:lnTo>
                    <a:pt x="435" y="95"/>
                  </a:lnTo>
                  <a:lnTo>
                    <a:pt x="442" y="123"/>
                  </a:lnTo>
                  <a:lnTo>
                    <a:pt x="435" y="151"/>
                  </a:lnTo>
                  <a:lnTo>
                    <a:pt x="420" y="177"/>
                  </a:lnTo>
                  <a:lnTo>
                    <a:pt x="392" y="199"/>
                  </a:lnTo>
                  <a:lnTo>
                    <a:pt x="359" y="218"/>
                  </a:lnTo>
                  <a:lnTo>
                    <a:pt x="318" y="233"/>
                  </a:lnTo>
                  <a:lnTo>
                    <a:pt x="271" y="242"/>
                  </a:lnTo>
                  <a:lnTo>
                    <a:pt x="221" y="246"/>
                  </a:lnTo>
                  <a:lnTo>
                    <a:pt x="171" y="242"/>
                  </a:lnTo>
                  <a:lnTo>
                    <a:pt x="124" y="233"/>
                  </a:lnTo>
                  <a:lnTo>
                    <a:pt x="83" y="218"/>
                  </a:lnTo>
                  <a:lnTo>
                    <a:pt x="50" y="199"/>
                  </a:lnTo>
                  <a:lnTo>
                    <a:pt x="22" y="177"/>
                  </a:lnTo>
                  <a:lnTo>
                    <a:pt x="7" y="151"/>
                  </a:lnTo>
                  <a:lnTo>
                    <a:pt x="0" y="123"/>
                  </a:lnTo>
                  <a:lnTo>
                    <a:pt x="7" y="95"/>
                  </a:lnTo>
                  <a:lnTo>
                    <a:pt x="22" y="69"/>
                  </a:lnTo>
                  <a:lnTo>
                    <a:pt x="50" y="45"/>
                  </a:lnTo>
                  <a:lnTo>
                    <a:pt x="83" y="26"/>
                  </a:lnTo>
                  <a:lnTo>
                    <a:pt x="124" y="13"/>
                  </a:lnTo>
                  <a:lnTo>
                    <a:pt x="171" y="2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1301751" y="4513263"/>
              <a:ext cx="134938" cy="177800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9" y="4"/>
                </a:cxn>
                <a:cxn ang="0">
                  <a:pos x="72" y="15"/>
                </a:cxn>
                <a:cxn ang="0">
                  <a:pos x="81" y="34"/>
                </a:cxn>
                <a:cxn ang="0">
                  <a:pos x="85" y="56"/>
                </a:cxn>
                <a:cxn ang="0">
                  <a:pos x="81" y="77"/>
                </a:cxn>
                <a:cxn ang="0">
                  <a:pos x="72" y="95"/>
                </a:cxn>
                <a:cxn ang="0">
                  <a:pos x="59" y="108"/>
                </a:cxn>
                <a:cxn ang="0">
                  <a:pos x="44" y="112"/>
                </a:cxn>
                <a:cxn ang="0">
                  <a:pos x="26" y="108"/>
                </a:cxn>
                <a:cxn ang="0">
                  <a:pos x="13" y="95"/>
                </a:cxn>
                <a:cxn ang="0">
                  <a:pos x="5" y="77"/>
                </a:cxn>
                <a:cxn ang="0">
                  <a:pos x="0" y="56"/>
                </a:cxn>
                <a:cxn ang="0">
                  <a:pos x="5" y="34"/>
                </a:cxn>
                <a:cxn ang="0">
                  <a:pos x="13" y="15"/>
                </a:cxn>
                <a:cxn ang="0">
                  <a:pos x="26" y="4"/>
                </a:cxn>
                <a:cxn ang="0">
                  <a:pos x="44" y="0"/>
                </a:cxn>
              </a:cxnLst>
              <a:rect l="0" t="0" r="r" b="b"/>
              <a:pathLst>
                <a:path w="85" h="112">
                  <a:moveTo>
                    <a:pt x="44" y="0"/>
                  </a:moveTo>
                  <a:lnTo>
                    <a:pt x="59" y="4"/>
                  </a:lnTo>
                  <a:lnTo>
                    <a:pt x="72" y="15"/>
                  </a:lnTo>
                  <a:lnTo>
                    <a:pt x="81" y="34"/>
                  </a:lnTo>
                  <a:lnTo>
                    <a:pt x="85" y="56"/>
                  </a:lnTo>
                  <a:lnTo>
                    <a:pt x="81" y="77"/>
                  </a:lnTo>
                  <a:lnTo>
                    <a:pt x="72" y="95"/>
                  </a:lnTo>
                  <a:lnTo>
                    <a:pt x="59" y="108"/>
                  </a:lnTo>
                  <a:lnTo>
                    <a:pt x="44" y="112"/>
                  </a:lnTo>
                  <a:lnTo>
                    <a:pt x="26" y="108"/>
                  </a:lnTo>
                  <a:lnTo>
                    <a:pt x="13" y="95"/>
                  </a:lnTo>
                  <a:lnTo>
                    <a:pt x="5" y="77"/>
                  </a:lnTo>
                  <a:lnTo>
                    <a:pt x="0" y="56"/>
                  </a:lnTo>
                  <a:lnTo>
                    <a:pt x="5" y="34"/>
                  </a:lnTo>
                  <a:lnTo>
                    <a:pt x="13" y="15"/>
                  </a:lnTo>
                  <a:lnTo>
                    <a:pt x="26" y="4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20"/>
            <p:cNvSpPr>
              <a:spLocks/>
            </p:cNvSpPr>
            <p:nvPr/>
          </p:nvSpPr>
          <p:spPr bwMode="auto">
            <a:xfrm>
              <a:off x="1566863" y="4513263"/>
              <a:ext cx="130175" cy="177800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58" y="4"/>
                </a:cxn>
                <a:cxn ang="0">
                  <a:pos x="71" y="15"/>
                </a:cxn>
                <a:cxn ang="0">
                  <a:pos x="80" y="34"/>
                </a:cxn>
                <a:cxn ang="0">
                  <a:pos x="82" y="56"/>
                </a:cxn>
                <a:cxn ang="0">
                  <a:pos x="80" y="77"/>
                </a:cxn>
                <a:cxn ang="0">
                  <a:pos x="71" y="95"/>
                </a:cxn>
                <a:cxn ang="0">
                  <a:pos x="58" y="108"/>
                </a:cxn>
                <a:cxn ang="0">
                  <a:pos x="41" y="112"/>
                </a:cxn>
                <a:cxn ang="0">
                  <a:pos x="26" y="108"/>
                </a:cxn>
                <a:cxn ang="0">
                  <a:pos x="13" y="95"/>
                </a:cxn>
                <a:cxn ang="0">
                  <a:pos x="4" y="77"/>
                </a:cxn>
                <a:cxn ang="0">
                  <a:pos x="0" y="56"/>
                </a:cxn>
                <a:cxn ang="0">
                  <a:pos x="4" y="34"/>
                </a:cxn>
                <a:cxn ang="0">
                  <a:pos x="13" y="15"/>
                </a:cxn>
                <a:cxn ang="0">
                  <a:pos x="26" y="4"/>
                </a:cxn>
                <a:cxn ang="0">
                  <a:pos x="41" y="0"/>
                </a:cxn>
              </a:cxnLst>
              <a:rect l="0" t="0" r="r" b="b"/>
              <a:pathLst>
                <a:path w="82" h="112">
                  <a:moveTo>
                    <a:pt x="41" y="0"/>
                  </a:moveTo>
                  <a:lnTo>
                    <a:pt x="58" y="4"/>
                  </a:lnTo>
                  <a:lnTo>
                    <a:pt x="71" y="15"/>
                  </a:lnTo>
                  <a:lnTo>
                    <a:pt x="80" y="34"/>
                  </a:lnTo>
                  <a:lnTo>
                    <a:pt x="82" y="56"/>
                  </a:lnTo>
                  <a:lnTo>
                    <a:pt x="80" y="77"/>
                  </a:lnTo>
                  <a:lnTo>
                    <a:pt x="71" y="95"/>
                  </a:lnTo>
                  <a:lnTo>
                    <a:pt x="58" y="108"/>
                  </a:lnTo>
                  <a:lnTo>
                    <a:pt x="41" y="112"/>
                  </a:lnTo>
                  <a:lnTo>
                    <a:pt x="26" y="108"/>
                  </a:lnTo>
                  <a:lnTo>
                    <a:pt x="13" y="95"/>
                  </a:lnTo>
                  <a:lnTo>
                    <a:pt x="4" y="77"/>
                  </a:lnTo>
                  <a:lnTo>
                    <a:pt x="0" y="56"/>
                  </a:lnTo>
                  <a:lnTo>
                    <a:pt x="4" y="34"/>
                  </a:lnTo>
                  <a:lnTo>
                    <a:pt x="13" y="15"/>
                  </a:lnTo>
                  <a:lnTo>
                    <a:pt x="26" y="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21"/>
            <p:cNvSpPr>
              <a:spLocks/>
            </p:cNvSpPr>
            <p:nvPr/>
          </p:nvSpPr>
          <p:spPr bwMode="auto">
            <a:xfrm>
              <a:off x="1079501" y="3852863"/>
              <a:ext cx="123825" cy="141288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8" y="7"/>
                </a:cxn>
                <a:cxn ang="0">
                  <a:pos x="73" y="22"/>
                </a:cxn>
                <a:cxn ang="0">
                  <a:pos x="78" y="44"/>
                </a:cxn>
                <a:cxn ang="0">
                  <a:pos x="73" y="67"/>
                </a:cxn>
                <a:cxn ang="0">
                  <a:pos x="58" y="82"/>
                </a:cxn>
                <a:cxn ang="0">
                  <a:pos x="39" y="89"/>
                </a:cxn>
                <a:cxn ang="0">
                  <a:pos x="19" y="82"/>
                </a:cxn>
                <a:cxn ang="0">
                  <a:pos x="4" y="67"/>
                </a:cxn>
                <a:cxn ang="0">
                  <a:pos x="0" y="44"/>
                </a:cxn>
                <a:cxn ang="0">
                  <a:pos x="4" y="22"/>
                </a:cxn>
                <a:cxn ang="0">
                  <a:pos x="19" y="7"/>
                </a:cxn>
                <a:cxn ang="0">
                  <a:pos x="39" y="0"/>
                </a:cxn>
              </a:cxnLst>
              <a:rect l="0" t="0" r="r" b="b"/>
              <a:pathLst>
                <a:path w="78" h="89">
                  <a:moveTo>
                    <a:pt x="39" y="0"/>
                  </a:moveTo>
                  <a:lnTo>
                    <a:pt x="58" y="7"/>
                  </a:lnTo>
                  <a:lnTo>
                    <a:pt x="73" y="22"/>
                  </a:lnTo>
                  <a:lnTo>
                    <a:pt x="78" y="44"/>
                  </a:lnTo>
                  <a:lnTo>
                    <a:pt x="73" y="67"/>
                  </a:lnTo>
                  <a:lnTo>
                    <a:pt x="58" y="82"/>
                  </a:lnTo>
                  <a:lnTo>
                    <a:pt x="39" y="89"/>
                  </a:lnTo>
                  <a:lnTo>
                    <a:pt x="19" y="82"/>
                  </a:lnTo>
                  <a:lnTo>
                    <a:pt x="4" y="67"/>
                  </a:lnTo>
                  <a:lnTo>
                    <a:pt x="0" y="44"/>
                  </a:lnTo>
                  <a:lnTo>
                    <a:pt x="4" y="22"/>
                  </a:lnTo>
                  <a:lnTo>
                    <a:pt x="19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22"/>
            <p:cNvSpPr>
              <a:spLocks/>
            </p:cNvSpPr>
            <p:nvPr/>
          </p:nvSpPr>
          <p:spPr bwMode="auto">
            <a:xfrm>
              <a:off x="1800226" y="3852863"/>
              <a:ext cx="123825" cy="141288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9" y="7"/>
                </a:cxn>
                <a:cxn ang="0">
                  <a:pos x="74" y="22"/>
                </a:cxn>
                <a:cxn ang="0">
                  <a:pos x="78" y="44"/>
                </a:cxn>
                <a:cxn ang="0">
                  <a:pos x="74" y="67"/>
                </a:cxn>
                <a:cxn ang="0">
                  <a:pos x="59" y="82"/>
                </a:cxn>
                <a:cxn ang="0">
                  <a:pos x="39" y="89"/>
                </a:cxn>
                <a:cxn ang="0">
                  <a:pos x="20" y="82"/>
                </a:cxn>
                <a:cxn ang="0">
                  <a:pos x="4" y="67"/>
                </a:cxn>
                <a:cxn ang="0">
                  <a:pos x="0" y="44"/>
                </a:cxn>
                <a:cxn ang="0">
                  <a:pos x="4" y="22"/>
                </a:cxn>
                <a:cxn ang="0">
                  <a:pos x="20" y="7"/>
                </a:cxn>
                <a:cxn ang="0">
                  <a:pos x="39" y="0"/>
                </a:cxn>
              </a:cxnLst>
              <a:rect l="0" t="0" r="r" b="b"/>
              <a:pathLst>
                <a:path w="78" h="89">
                  <a:moveTo>
                    <a:pt x="39" y="0"/>
                  </a:moveTo>
                  <a:lnTo>
                    <a:pt x="59" y="7"/>
                  </a:lnTo>
                  <a:lnTo>
                    <a:pt x="74" y="22"/>
                  </a:lnTo>
                  <a:lnTo>
                    <a:pt x="78" y="44"/>
                  </a:lnTo>
                  <a:lnTo>
                    <a:pt x="74" y="67"/>
                  </a:lnTo>
                  <a:lnTo>
                    <a:pt x="59" y="82"/>
                  </a:lnTo>
                  <a:lnTo>
                    <a:pt x="39" y="89"/>
                  </a:lnTo>
                  <a:lnTo>
                    <a:pt x="20" y="82"/>
                  </a:lnTo>
                  <a:lnTo>
                    <a:pt x="4" y="67"/>
                  </a:lnTo>
                  <a:lnTo>
                    <a:pt x="0" y="44"/>
                  </a:lnTo>
                  <a:lnTo>
                    <a:pt x="4" y="22"/>
                  </a:lnTo>
                  <a:lnTo>
                    <a:pt x="20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" name="Freeform 1"/>
          <p:cNvSpPr/>
          <p:nvPr/>
        </p:nvSpPr>
        <p:spPr>
          <a:xfrm>
            <a:off x="9008965" y="-36748"/>
            <a:ext cx="3187516" cy="2356951"/>
          </a:xfrm>
          <a:custGeom>
            <a:avLst/>
            <a:gdLst>
              <a:gd name="connsiteX0" fmla="*/ 274065 w 3617414"/>
              <a:gd name="connsiteY0" fmla="*/ 1543940 h 2601250"/>
              <a:gd name="connsiteX1" fmla="*/ 1995288 w 3617414"/>
              <a:gd name="connsiteY1" fmla="*/ 199234 h 2601250"/>
              <a:gd name="connsiteX2" fmla="*/ 3375853 w 3617414"/>
              <a:gd name="connsiteY2" fmla="*/ 55799 h 2601250"/>
              <a:gd name="connsiteX3" fmla="*/ 3304135 w 3617414"/>
              <a:gd name="connsiteY3" fmla="*/ 683328 h 2601250"/>
              <a:gd name="connsiteX4" fmla="*/ 291994 w 3617414"/>
              <a:gd name="connsiteY4" fmla="*/ 2512128 h 2601250"/>
              <a:gd name="connsiteX5" fmla="*/ 112700 w 3617414"/>
              <a:gd name="connsiteY5" fmla="*/ 2243187 h 2601250"/>
              <a:gd name="connsiteX6" fmla="*/ 256135 w 3617414"/>
              <a:gd name="connsiteY6" fmla="*/ 1597728 h 2601250"/>
              <a:gd name="connsiteX0" fmla="*/ 264049 w 3525490"/>
              <a:gd name="connsiteY0" fmla="*/ 1551691 h 2601516"/>
              <a:gd name="connsiteX1" fmla="*/ 1985272 w 3525490"/>
              <a:gd name="connsiteY1" fmla="*/ 206985 h 2601516"/>
              <a:gd name="connsiteX2" fmla="*/ 3365837 w 3525490"/>
              <a:gd name="connsiteY2" fmla="*/ 63550 h 2601516"/>
              <a:gd name="connsiteX3" fmla="*/ 3150684 w 3525490"/>
              <a:gd name="connsiteY3" fmla="*/ 798655 h 2601516"/>
              <a:gd name="connsiteX4" fmla="*/ 281978 w 3525490"/>
              <a:gd name="connsiteY4" fmla="*/ 2519879 h 2601516"/>
              <a:gd name="connsiteX5" fmla="*/ 102684 w 3525490"/>
              <a:gd name="connsiteY5" fmla="*/ 2250938 h 2601516"/>
              <a:gd name="connsiteX6" fmla="*/ 246119 w 3525490"/>
              <a:gd name="connsiteY6" fmla="*/ 1605479 h 2601516"/>
              <a:gd name="connsiteX0" fmla="*/ 264049 w 3446220"/>
              <a:gd name="connsiteY0" fmla="*/ 1506082 h 2555907"/>
              <a:gd name="connsiteX1" fmla="*/ 1985272 w 3446220"/>
              <a:gd name="connsiteY1" fmla="*/ 161376 h 2555907"/>
              <a:gd name="connsiteX2" fmla="*/ 3222401 w 3446220"/>
              <a:gd name="connsiteY2" fmla="*/ 89658 h 2555907"/>
              <a:gd name="connsiteX3" fmla="*/ 3150684 w 3446220"/>
              <a:gd name="connsiteY3" fmla="*/ 753046 h 2555907"/>
              <a:gd name="connsiteX4" fmla="*/ 281978 w 3446220"/>
              <a:gd name="connsiteY4" fmla="*/ 2474270 h 2555907"/>
              <a:gd name="connsiteX5" fmla="*/ 102684 w 3446220"/>
              <a:gd name="connsiteY5" fmla="*/ 2205329 h 2555907"/>
              <a:gd name="connsiteX6" fmla="*/ 246119 w 3446220"/>
              <a:gd name="connsiteY6" fmla="*/ 1559870 h 2555907"/>
              <a:gd name="connsiteX0" fmla="*/ 264049 w 3222401"/>
              <a:gd name="connsiteY0" fmla="*/ 1506082 h 2555907"/>
              <a:gd name="connsiteX1" fmla="*/ 1985272 w 3222401"/>
              <a:gd name="connsiteY1" fmla="*/ 161376 h 2555907"/>
              <a:gd name="connsiteX2" fmla="*/ 3222401 w 3222401"/>
              <a:gd name="connsiteY2" fmla="*/ 89658 h 2555907"/>
              <a:gd name="connsiteX3" fmla="*/ 3150684 w 3222401"/>
              <a:gd name="connsiteY3" fmla="*/ 753046 h 2555907"/>
              <a:gd name="connsiteX4" fmla="*/ 281978 w 3222401"/>
              <a:gd name="connsiteY4" fmla="*/ 2474270 h 2555907"/>
              <a:gd name="connsiteX5" fmla="*/ 102684 w 3222401"/>
              <a:gd name="connsiteY5" fmla="*/ 2205329 h 2555907"/>
              <a:gd name="connsiteX6" fmla="*/ 246119 w 3222401"/>
              <a:gd name="connsiteY6" fmla="*/ 1559870 h 2555907"/>
              <a:gd name="connsiteX0" fmla="*/ 264049 w 3222401"/>
              <a:gd name="connsiteY0" fmla="*/ 1416424 h 2466249"/>
              <a:gd name="connsiteX1" fmla="*/ 1985272 w 3222401"/>
              <a:gd name="connsiteY1" fmla="*/ 71718 h 2466249"/>
              <a:gd name="connsiteX2" fmla="*/ 3222401 w 3222401"/>
              <a:gd name="connsiteY2" fmla="*/ 0 h 2466249"/>
              <a:gd name="connsiteX3" fmla="*/ 3150684 w 3222401"/>
              <a:gd name="connsiteY3" fmla="*/ 663388 h 2466249"/>
              <a:gd name="connsiteX4" fmla="*/ 281978 w 3222401"/>
              <a:gd name="connsiteY4" fmla="*/ 2384612 h 2466249"/>
              <a:gd name="connsiteX5" fmla="*/ 102684 w 3222401"/>
              <a:gd name="connsiteY5" fmla="*/ 2115671 h 2466249"/>
              <a:gd name="connsiteX6" fmla="*/ 246119 w 3222401"/>
              <a:gd name="connsiteY6" fmla="*/ 1470212 h 2466249"/>
              <a:gd name="connsiteX0" fmla="*/ 264049 w 3300739"/>
              <a:gd name="connsiteY0" fmla="*/ 1447883 h 2497708"/>
              <a:gd name="connsiteX1" fmla="*/ 1938207 w 3300739"/>
              <a:gd name="connsiteY1" fmla="*/ 116624 h 2497708"/>
              <a:gd name="connsiteX2" fmla="*/ 3222401 w 3300739"/>
              <a:gd name="connsiteY2" fmla="*/ 31459 h 2497708"/>
              <a:gd name="connsiteX3" fmla="*/ 3150684 w 3300739"/>
              <a:gd name="connsiteY3" fmla="*/ 694847 h 2497708"/>
              <a:gd name="connsiteX4" fmla="*/ 281978 w 3300739"/>
              <a:gd name="connsiteY4" fmla="*/ 2416071 h 2497708"/>
              <a:gd name="connsiteX5" fmla="*/ 102684 w 3300739"/>
              <a:gd name="connsiteY5" fmla="*/ 2147130 h 2497708"/>
              <a:gd name="connsiteX6" fmla="*/ 246119 w 3300739"/>
              <a:gd name="connsiteY6" fmla="*/ 1501671 h 2497708"/>
              <a:gd name="connsiteX0" fmla="*/ 264049 w 3351412"/>
              <a:gd name="connsiteY0" fmla="*/ 1383579 h 2433404"/>
              <a:gd name="connsiteX1" fmla="*/ 1938207 w 3351412"/>
              <a:gd name="connsiteY1" fmla="*/ 52320 h 2433404"/>
              <a:gd name="connsiteX2" fmla="*/ 2980354 w 3351412"/>
              <a:gd name="connsiteY2" fmla="*/ 303332 h 2433404"/>
              <a:gd name="connsiteX3" fmla="*/ 3150684 w 3351412"/>
              <a:gd name="connsiteY3" fmla="*/ 630543 h 2433404"/>
              <a:gd name="connsiteX4" fmla="*/ 281978 w 3351412"/>
              <a:gd name="connsiteY4" fmla="*/ 2351767 h 2433404"/>
              <a:gd name="connsiteX5" fmla="*/ 102684 w 3351412"/>
              <a:gd name="connsiteY5" fmla="*/ 2082826 h 2433404"/>
              <a:gd name="connsiteX6" fmla="*/ 246119 w 3351412"/>
              <a:gd name="connsiteY6" fmla="*/ 1437367 h 2433404"/>
              <a:gd name="connsiteX0" fmla="*/ 264049 w 3429588"/>
              <a:gd name="connsiteY0" fmla="*/ 1442824 h 2492649"/>
              <a:gd name="connsiteX1" fmla="*/ 1938207 w 3429588"/>
              <a:gd name="connsiteY1" fmla="*/ 111565 h 2492649"/>
              <a:gd name="connsiteX2" fmla="*/ 3182060 w 3429588"/>
              <a:gd name="connsiteY2" fmla="*/ 140701 h 2492649"/>
              <a:gd name="connsiteX3" fmla="*/ 3150684 w 3429588"/>
              <a:gd name="connsiteY3" fmla="*/ 689788 h 2492649"/>
              <a:gd name="connsiteX4" fmla="*/ 281978 w 3429588"/>
              <a:gd name="connsiteY4" fmla="*/ 2411012 h 2492649"/>
              <a:gd name="connsiteX5" fmla="*/ 102684 w 3429588"/>
              <a:gd name="connsiteY5" fmla="*/ 2142071 h 2492649"/>
              <a:gd name="connsiteX6" fmla="*/ 246119 w 3429588"/>
              <a:gd name="connsiteY6" fmla="*/ 1496612 h 2492649"/>
              <a:gd name="connsiteX0" fmla="*/ 264049 w 3429588"/>
              <a:gd name="connsiteY0" fmla="*/ 1331259 h 2381084"/>
              <a:gd name="connsiteX1" fmla="*/ 1938207 w 3429588"/>
              <a:gd name="connsiteY1" fmla="*/ 0 h 2381084"/>
              <a:gd name="connsiteX2" fmla="*/ 3182060 w 3429588"/>
              <a:gd name="connsiteY2" fmla="*/ 29136 h 2381084"/>
              <a:gd name="connsiteX3" fmla="*/ 3150684 w 3429588"/>
              <a:gd name="connsiteY3" fmla="*/ 578223 h 2381084"/>
              <a:gd name="connsiteX4" fmla="*/ 281978 w 3429588"/>
              <a:gd name="connsiteY4" fmla="*/ 2299447 h 2381084"/>
              <a:gd name="connsiteX5" fmla="*/ 102684 w 3429588"/>
              <a:gd name="connsiteY5" fmla="*/ 2030506 h 2381084"/>
              <a:gd name="connsiteX6" fmla="*/ 246119 w 3429588"/>
              <a:gd name="connsiteY6" fmla="*/ 1385047 h 2381084"/>
              <a:gd name="connsiteX0" fmla="*/ 266859 w 3459656"/>
              <a:gd name="connsiteY0" fmla="*/ 1351219 h 2401044"/>
              <a:gd name="connsiteX1" fmla="*/ 1941017 w 3459656"/>
              <a:gd name="connsiteY1" fmla="*/ 19960 h 2401044"/>
              <a:gd name="connsiteX2" fmla="*/ 3184870 w 3459656"/>
              <a:gd name="connsiteY2" fmla="*/ 49096 h 2401044"/>
              <a:gd name="connsiteX3" fmla="*/ 3193835 w 3459656"/>
              <a:gd name="connsiteY3" fmla="*/ 598183 h 2401044"/>
              <a:gd name="connsiteX4" fmla="*/ 284788 w 3459656"/>
              <a:gd name="connsiteY4" fmla="*/ 2319407 h 2401044"/>
              <a:gd name="connsiteX5" fmla="*/ 105494 w 3459656"/>
              <a:gd name="connsiteY5" fmla="*/ 2050466 h 2401044"/>
              <a:gd name="connsiteX6" fmla="*/ 248929 w 3459656"/>
              <a:gd name="connsiteY6" fmla="*/ 1405007 h 2401044"/>
              <a:gd name="connsiteX0" fmla="*/ 266859 w 3193835"/>
              <a:gd name="connsiteY0" fmla="*/ 1351219 h 2401044"/>
              <a:gd name="connsiteX1" fmla="*/ 1941017 w 3193835"/>
              <a:gd name="connsiteY1" fmla="*/ 19960 h 2401044"/>
              <a:gd name="connsiteX2" fmla="*/ 3184870 w 3193835"/>
              <a:gd name="connsiteY2" fmla="*/ 49096 h 2401044"/>
              <a:gd name="connsiteX3" fmla="*/ 3193835 w 3193835"/>
              <a:gd name="connsiteY3" fmla="*/ 598183 h 2401044"/>
              <a:gd name="connsiteX4" fmla="*/ 284788 w 3193835"/>
              <a:gd name="connsiteY4" fmla="*/ 2319407 h 2401044"/>
              <a:gd name="connsiteX5" fmla="*/ 105494 w 3193835"/>
              <a:gd name="connsiteY5" fmla="*/ 2050466 h 2401044"/>
              <a:gd name="connsiteX6" fmla="*/ 248929 w 3193835"/>
              <a:gd name="connsiteY6" fmla="*/ 1405007 h 2401044"/>
              <a:gd name="connsiteX0" fmla="*/ 266859 w 3193835"/>
              <a:gd name="connsiteY0" fmla="*/ 1331259 h 2381084"/>
              <a:gd name="connsiteX1" fmla="*/ 1941017 w 3193835"/>
              <a:gd name="connsiteY1" fmla="*/ 0 h 2381084"/>
              <a:gd name="connsiteX2" fmla="*/ 3184870 w 3193835"/>
              <a:gd name="connsiteY2" fmla="*/ 29136 h 2381084"/>
              <a:gd name="connsiteX3" fmla="*/ 3193835 w 3193835"/>
              <a:gd name="connsiteY3" fmla="*/ 578223 h 2381084"/>
              <a:gd name="connsiteX4" fmla="*/ 284788 w 3193835"/>
              <a:gd name="connsiteY4" fmla="*/ 2299447 h 2381084"/>
              <a:gd name="connsiteX5" fmla="*/ 105494 w 3193835"/>
              <a:gd name="connsiteY5" fmla="*/ 2030506 h 2381084"/>
              <a:gd name="connsiteX6" fmla="*/ 248929 w 3193835"/>
              <a:gd name="connsiteY6" fmla="*/ 1385047 h 2381084"/>
              <a:gd name="connsiteX0" fmla="*/ 266859 w 3275879"/>
              <a:gd name="connsiteY0" fmla="*/ 1349105 h 2398930"/>
              <a:gd name="connsiteX1" fmla="*/ 1988082 w 3275879"/>
              <a:gd name="connsiteY1" fmla="*/ 24570 h 2398930"/>
              <a:gd name="connsiteX2" fmla="*/ 3184870 w 3275879"/>
              <a:gd name="connsiteY2" fmla="*/ 46982 h 2398930"/>
              <a:gd name="connsiteX3" fmla="*/ 3193835 w 3275879"/>
              <a:gd name="connsiteY3" fmla="*/ 596069 h 2398930"/>
              <a:gd name="connsiteX4" fmla="*/ 284788 w 3275879"/>
              <a:gd name="connsiteY4" fmla="*/ 2317293 h 2398930"/>
              <a:gd name="connsiteX5" fmla="*/ 105494 w 3275879"/>
              <a:gd name="connsiteY5" fmla="*/ 2048352 h 2398930"/>
              <a:gd name="connsiteX6" fmla="*/ 248929 w 3275879"/>
              <a:gd name="connsiteY6" fmla="*/ 1402893 h 2398930"/>
              <a:gd name="connsiteX0" fmla="*/ 266859 w 3273888"/>
              <a:gd name="connsiteY0" fmla="*/ 1344144 h 2393969"/>
              <a:gd name="connsiteX1" fmla="*/ 2014976 w 3273888"/>
              <a:gd name="connsiteY1" fmla="*/ 33056 h 2393969"/>
              <a:gd name="connsiteX2" fmla="*/ 3184870 w 3273888"/>
              <a:gd name="connsiteY2" fmla="*/ 42021 h 2393969"/>
              <a:gd name="connsiteX3" fmla="*/ 3193835 w 3273888"/>
              <a:gd name="connsiteY3" fmla="*/ 591108 h 2393969"/>
              <a:gd name="connsiteX4" fmla="*/ 284788 w 3273888"/>
              <a:gd name="connsiteY4" fmla="*/ 2312332 h 2393969"/>
              <a:gd name="connsiteX5" fmla="*/ 105494 w 3273888"/>
              <a:gd name="connsiteY5" fmla="*/ 2043391 h 2393969"/>
              <a:gd name="connsiteX6" fmla="*/ 248929 w 3273888"/>
              <a:gd name="connsiteY6" fmla="*/ 1397932 h 2393969"/>
              <a:gd name="connsiteX0" fmla="*/ 266859 w 3273888"/>
              <a:gd name="connsiteY0" fmla="*/ 1311088 h 2360913"/>
              <a:gd name="connsiteX1" fmla="*/ 2014976 w 3273888"/>
              <a:gd name="connsiteY1" fmla="*/ 0 h 2360913"/>
              <a:gd name="connsiteX2" fmla="*/ 3184870 w 3273888"/>
              <a:gd name="connsiteY2" fmla="*/ 8965 h 2360913"/>
              <a:gd name="connsiteX3" fmla="*/ 3193835 w 3273888"/>
              <a:gd name="connsiteY3" fmla="*/ 558052 h 2360913"/>
              <a:gd name="connsiteX4" fmla="*/ 284788 w 3273888"/>
              <a:gd name="connsiteY4" fmla="*/ 2279276 h 2360913"/>
              <a:gd name="connsiteX5" fmla="*/ 105494 w 3273888"/>
              <a:gd name="connsiteY5" fmla="*/ 2010335 h 2360913"/>
              <a:gd name="connsiteX6" fmla="*/ 248929 w 3273888"/>
              <a:gd name="connsiteY6" fmla="*/ 1364876 h 2360913"/>
              <a:gd name="connsiteX0" fmla="*/ 266859 w 3193835"/>
              <a:gd name="connsiteY0" fmla="*/ 1311088 h 2360913"/>
              <a:gd name="connsiteX1" fmla="*/ 2014976 w 3193835"/>
              <a:gd name="connsiteY1" fmla="*/ 0 h 2360913"/>
              <a:gd name="connsiteX2" fmla="*/ 3184870 w 3193835"/>
              <a:gd name="connsiteY2" fmla="*/ 8965 h 2360913"/>
              <a:gd name="connsiteX3" fmla="*/ 3193835 w 3193835"/>
              <a:gd name="connsiteY3" fmla="*/ 558052 h 2360913"/>
              <a:gd name="connsiteX4" fmla="*/ 284788 w 3193835"/>
              <a:gd name="connsiteY4" fmla="*/ 2279276 h 2360913"/>
              <a:gd name="connsiteX5" fmla="*/ 105494 w 3193835"/>
              <a:gd name="connsiteY5" fmla="*/ 2010335 h 2360913"/>
              <a:gd name="connsiteX6" fmla="*/ 248929 w 3193835"/>
              <a:gd name="connsiteY6" fmla="*/ 1364876 h 2360913"/>
              <a:gd name="connsiteX0" fmla="*/ 266859 w 3193835"/>
              <a:gd name="connsiteY0" fmla="*/ 1311088 h 2360913"/>
              <a:gd name="connsiteX1" fmla="*/ 2014976 w 3193835"/>
              <a:gd name="connsiteY1" fmla="*/ 0 h 2360913"/>
              <a:gd name="connsiteX2" fmla="*/ 3184870 w 3193835"/>
              <a:gd name="connsiteY2" fmla="*/ 8965 h 2360913"/>
              <a:gd name="connsiteX3" fmla="*/ 3193835 w 3193835"/>
              <a:gd name="connsiteY3" fmla="*/ 558052 h 2360913"/>
              <a:gd name="connsiteX4" fmla="*/ 284788 w 3193835"/>
              <a:gd name="connsiteY4" fmla="*/ 2279276 h 2360913"/>
              <a:gd name="connsiteX5" fmla="*/ 105494 w 3193835"/>
              <a:gd name="connsiteY5" fmla="*/ 2010335 h 2360913"/>
              <a:gd name="connsiteX6" fmla="*/ 248929 w 3193835"/>
              <a:gd name="connsiteY6" fmla="*/ 1364876 h 2360913"/>
              <a:gd name="connsiteX7" fmla="*/ 266859 w 3193835"/>
              <a:gd name="connsiteY7" fmla="*/ 1311088 h 2360913"/>
              <a:gd name="connsiteX0" fmla="*/ 260540 w 3187516"/>
              <a:gd name="connsiteY0" fmla="*/ 1311088 h 2356951"/>
              <a:gd name="connsiteX1" fmla="*/ 2008657 w 3187516"/>
              <a:gd name="connsiteY1" fmla="*/ 0 h 2356951"/>
              <a:gd name="connsiteX2" fmla="*/ 3178551 w 3187516"/>
              <a:gd name="connsiteY2" fmla="*/ 8965 h 2356951"/>
              <a:gd name="connsiteX3" fmla="*/ 3187516 w 3187516"/>
              <a:gd name="connsiteY3" fmla="*/ 558052 h 2356951"/>
              <a:gd name="connsiteX4" fmla="*/ 278469 w 3187516"/>
              <a:gd name="connsiteY4" fmla="*/ 2279276 h 2356951"/>
              <a:gd name="connsiteX5" fmla="*/ 99175 w 3187516"/>
              <a:gd name="connsiteY5" fmla="*/ 2010335 h 2356951"/>
              <a:gd name="connsiteX6" fmla="*/ 121586 w 3187516"/>
              <a:gd name="connsiteY6" fmla="*/ 1553135 h 2356951"/>
              <a:gd name="connsiteX7" fmla="*/ 260540 w 3187516"/>
              <a:gd name="connsiteY7" fmla="*/ 1311088 h 2356951"/>
              <a:gd name="connsiteX0" fmla="*/ 186581 w 3187516"/>
              <a:gd name="connsiteY0" fmla="*/ 1485347 h 2457251"/>
              <a:gd name="connsiteX1" fmla="*/ 2008657 w 3187516"/>
              <a:gd name="connsiteY1" fmla="*/ 100300 h 2457251"/>
              <a:gd name="connsiteX2" fmla="*/ 3178551 w 3187516"/>
              <a:gd name="connsiteY2" fmla="*/ 109265 h 2457251"/>
              <a:gd name="connsiteX3" fmla="*/ 3187516 w 3187516"/>
              <a:gd name="connsiteY3" fmla="*/ 658352 h 2457251"/>
              <a:gd name="connsiteX4" fmla="*/ 278469 w 3187516"/>
              <a:gd name="connsiteY4" fmla="*/ 2379576 h 2457251"/>
              <a:gd name="connsiteX5" fmla="*/ 99175 w 3187516"/>
              <a:gd name="connsiteY5" fmla="*/ 2110635 h 2457251"/>
              <a:gd name="connsiteX6" fmla="*/ 121586 w 3187516"/>
              <a:gd name="connsiteY6" fmla="*/ 1653435 h 2457251"/>
              <a:gd name="connsiteX7" fmla="*/ 186581 w 3187516"/>
              <a:gd name="connsiteY7" fmla="*/ 1485347 h 2457251"/>
              <a:gd name="connsiteX0" fmla="*/ 186581 w 3187516"/>
              <a:gd name="connsiteY0" fmla="*/ 1385047 h 2356951"/>
              <a:gd name="connsiteX1" fmla="*/ 2008657 w 3187516"/>
              <a:gd name="connsiteY1" fmla="*/ 0 h 2356951"/>
              <a:gd name="connsiteX2" fmla="*/ 3178551 w 3187516"/>
              <a:gd name="connsiteY2" fmla="*/ 8965 h 2356951"/>
              <a:gd name="connsiteX3" fmla="*/ 3187516 w 3187516"/>
              <a:gd name="connsiteY3" fmla="*/ 558052 h 2356951"/>
              <a:gd name="connsiteX4" fmla="*/ 278469 w 3187516"/>
              <a:gd name="connsiteY4" fmla="*/ 2279276 h 2356951"/>
              <a:gd name="connsiteX5" fmla="*/ 99175 w 3187516"/>
              <a:gd name="connsiteY5" fmla="*/ 2010335 h 2356951"/>
              <a:gd name="connsiteX6" fmla="*/ 121586 w 3187516"/>
              <a:gd name="connsiteY6" fmla="*/ 1553135 h 2356951"/>
              <a:gd name="connsiteX7" fmla="*/ 186581 w 3187516"/>
              <a:gd name="connsiteY7" fmla="*/ 1385047 h 235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7516" h="2356951">
                <a:moveTo>
                  <a:pt x="186581" y="1385047"/>
                </a:moveTo>
                <a:cubicBezTo>
                  <a:pt x="788710" y="836705"/>
                  <a:pt x="1509996" y="229347"/>
                  <a:pt x="2008657" y="0"/>
                </a:cubicBezTo>
                <a:lnTo>
                  <a:pt x="3178551" y="8965"/>
                </a:lnTo>
                <a:lnTo>
                  <a:pt x="3187516" y="558052"/>
                </a:lnTo>
                <a:cubicBezTo>
                  <a:pt x="2704169" y="936437"/>
                  <a:pt x="793193" y="2037229"/>
                  <a:pt x="278469" y="2279276"/>
                </a:cubicBezTo>
                <a:cubicBezTo>
                  <a:pt x="-236255" y="2521323"/>
                  <a:pt x="125322" y="2131358"/>
                  <a:pt x="99175" y="2010335"/>
                </a:cubicBezTo>
                <a:cubicBezTo>
                  <a:pt x="73028" y="1889312"/>
                  <a:pt x="46880" y="1799664"/>
                  <a:pt x="121586" y="1553135"/>
                </a:cubicBezTo>
                <a:lnTo>
                  <a:pt x="186581" y="1385047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/>
          <p:cNvSpPr/>
          <p:nvPr/>
        </p:nvSpPr>
        <p:spPr>
          <a:xfrm>
            <a:off x="9160625" y="897776"/>
            <a:ext cx="931026" cy="1263534"/>
          </a:xfrm>
          <a:custGeom>
            <a:avLst/>
            <a:gdLst>
              <a:gd name="connsiteX0" fmla="*/ 0 w 941960"/>
              <a:gd name="connsiteY0" fmla="*/ 206142 h 1405467"/>
              <a:gd name="connsiteX1" fmla="*/ 648393 w 941960"/>
              <a:gd name="connsiteY1" fmla="*/ 1320047 h 1405467"/>
              <a:gd name="connsiteX2" fmla="*/ 931026 w 941960"/>
              <a:gd name="connsiteY2" fmla="*/ 1187043 h 1405467"/>
              <a:gd name="connsiteX3" fmla="*/ 299259 w 941960"/>
              <a:gd name="connsiteY3" fmla="*/ 56513 h 1405467"/>
              <a:gd name="connsiteX4" fmla="*/ 16626 w 941960"/>
              <a:gd name="connsiteY4" fmla="*/ 272643 h 1405467"/>
              <a:gd name="connsiteX0" fmla="*/ 0 w 931026"/>
              <a:gd name="connsiteY0" fmla="*/ 206142 h 1320047"/>
              <a:gd name="connsiteX1" fmla="*/ 648393 w 931026"/>
              <a:gd name="connsiteY1" fmla="*/ 1320047 h 1320047"/>
              <a:gd name="connsiteX2" fmla="*/ 931026 w 931026"/>
              <a:gd name="connsiteY2" fmla="*/ 1187043 h 1320047"/>
              <a:gd name="connsiteX3" fmla="*/ 299259 w 931026"/>
              <a:gd name="connsiteY3" fmla="*/ 56513 h 1320047"/>
              <a:gd name="connsiteX4" fmla="*/ 16626 w 931026"/>
              <a:gd name="connsiteY4" fmla="*/ 272643 h 1320047"/>
              <a:gd name="connsiteX0" fmla="*/ 0 w 931026"/>
              <a:gd name="connsiteY0" fmla="*/ 206142 h 1320047"/>
              <a:gd name="connsiteX1" fmla="*/ 648393 w 931026"/>
              <a:gd name="connsiteY1" fmla="*/ 1320047 h 1320047"/>
              <a:gd name="connsiteX2" fmla="*/ 931026 w 931026"/>
              <a:gd name="connsiteY2" fmla="*/ 1187043 h 1320047"/>
              <a:gd name="connsiteX3" fmla="*/ 299259 w 931026"/>
              <a:gd name="connsiteY3" fmla="*/ 56513 h 1320047"/>
              <a:gd name="connsiteX4" fmla="*/ 16626 w 931026"/>
              <a:gd name="connsiteY4" fmla="*/ 272643 h 1320047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16626 w 931026"/>
              <a:gd name="connsiteY4" fmla="*/ 216130 h 1263534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16626 w 931026"/>
              <a:gd name="connsiteY4" fmla="*/ 216130 h 1263534"/>
              <a:gd name="connsiteX0" fmla="*/ 0 w 931026"/>
              <a:gd name="connsiteY0" fmla="*/ 202159 h 1316064"/>
              <a:gd name="connsiteX1" fmla="*/ 648393 w 931026"/>
              <a:gd name="connsiteY1" fmla="*/ 1316064 h 1316064"/>
              <a:gd name="connsiteX2" fmla="*/ 931026 w 931026"/>
              <a:gd name="connsiteY2" fmla="*/ 1183060 h 1316064"/>
              <a:gd name="connsiteX3" fmla="*/ 299259 w 931026"/>
              <a:gd name="connsiteY3" fmla="*/ 52530 h 1316064"/>
              <a:gd name="connsiteX4" fmla="*/ 3747 w 931026"/>
              <a:gd name="connsiteY4" fmla="*/ 204266 h 1316064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3747 w 931026"/>
              <a:gd name="connsiteY4" fmla="*/ 151736 h 1263534"/>
              <a:gd name="connsiteX0" fmla="*/ 0 w 931026"/>
              <a:gd name="connsiteY0" fmla="*/ 149629 h 1263534"/>
              <a:gd name="connsiteX1" fmla="*/ 648393 w 931026"/>
              <a:gd name="connsiteY1" fmla="*/ 1263534 h 1263534"/>
              <a:gd name="connsiteX2" fmla="*/ 931026 w 931026"/>
              <a:gd name="connsiteY2" fmla="*/ 1130530 h 1263534"/>
              <a:gd name="connsiteX3" fmla="*/ 299259 w 931026"/>
              <a:gd name="connsiteY3" fmla="*/ 0 h 1263534"/>
              <a:gd name="connsiteX4" fmla="*/ 3747 w 931026"/>
              <a:gd name="connsiteY4" fmla="*/ 151736 h 1263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026" h="1263534">
                <a:moveTo>
                  <a:pt x="0" y="149629"/>
                </a:moveTo>
                <a:lnTo>
                  <a:pt x="648393" y="1263534"/>
                </a:lnTo>
                <a:lnTo>
                  <a:pt x="931026" y="1130530"/>
                </a:lnTo>
                <a:lnTo>
                  <a:pt x="299259" y="0"/>
                </a:lnTo>
                <a:lnTo>
                  <a:pt x="3747" y="151736"/>
                </a:ln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>
          <a:xfrm>
            <a:off x="9349740" y="-68580"/>
            <a:ext cx="2880360" cy="2222798"/>
          </a:xfrm>
          <a:custGeom>
            <a:avLst/>
            <a:gdLst>
              <a:gd name="connsiteX0" fmla="*/ 0 w 3108551"/>
              <a:gd name="connsiteY0" fmla="*/ 948394 h 2343230"/>
              <a:gd name="connsiteX1" fmla="*/ 708660 w 3108551"/>
              <a:gd name="connsiteY1" fmla="*/ 2342854 h 2343230"/>
              <a:gd name="connsiteX2" fmla="*/ 2880360 w 3108551"/>
              <a:gd name="connsiteY2" fmla="*/ 834094 h 2343230"/>
              <a:gd name="connsiteX3" fmla="*/ 2857500 w 3108551"/>
              <a:gd name="connsiteY3" fmla="*/ 79714 h 2343230"/>
              <a:gd name="connsiteX4" fmla="*/ 1234440 w 3108551"/>
              <a:gd name="connsiteY4" fmla="*/ 125434 h 2343230"/>
              <a:gd name="connsiteX5" fmla="*/ 22860 w 3108551"/>
              <a:gd name="connsiteY5" fmla="*/ 994114 h 2343230"/>
              <a:gd name="connsiteX0" fmla="*/ 0 w 3108551"/>
              <a:gd name="connsiteY0" fmla="*/ 948394 h 2342854"/>
              <a:gd name="connsiteX1" fmla="*/ 708660 w 3108551"/>
              <a:gd name="connsiteY1" fmla="*/ 2342854 h 2342854"/>
              <a:gd name="connsiteX2" fmla="*/ 2880360 w 3108551"/>
              <a:gd name="connsiteY2" fmla="*/ 834094 h 2342854"/>
              <a:gd name="connsiteX3" fmla="*/ 2857500 w 3108551"/>
              <a:gd name="connsiteY3" fmla="*/ 79714 h 2342854"/>
              <a:gd name="connsiteX4" fmla="*/ 1234440 w 3108551"/>
              <a:gd name="connsiteY4" fmla="*/ 125434 h 2342854"/>
              <a:gd name="connsiteX5" fmla="*/ 22860 w 3108551"/>
              <a:gd name="connsiteY5" fmla="*/ 994114 h 2342854"/>
              <a:gd name="connsiteX0" fmla="*/ 0 w 3108551"/>
              <a:gd name="connsiteY0" fmla="*/ 948394 h 2342854"/>
              <a:gd name="connsiteX1" fmla="*/ 708660 w 3108551"/>
              <a:gd name="connsiteY1" fmla="*/ 2342854 h 2342854"/>
              <a:gd name="connsiteX2" fmla="*/ 2880360 w 3108551"/>
              <a:gd name="connsiteY2" fmla="*/ 834094 h 2342854"/>
              <a:gd name="connsiteX3" fmla="*/ 2857500 w 3108551"/>
              <a:gd name="connsiteY3" fmla="*/ 79714 h 2342854"/>
              <a:gd name="connsiteX4" fmla="*/ 1234440 w 3108551"/>
              <a:gd name="connsiteY4" fmla="*/ 125434 h 2342854"/>
              <a:gd name="connsiteX5" fmla="*/ 22860 w 3108551"/>
              <a:gd name="connsiteY5" fmla="*/ 994114 h 2342854"/>
              <a:gd name="connsiteX0" fmla="*/ 0 w 2880360"/>
              <a:gd name="connsiteY0" fmla="*/ 948394 h 2342854"/>
              <a:gd name="connsiteX1" fmla="*/ 708660 w 2880360"/>
              <a:gd name="connsiteY1" fmla="*/ 2342854 h 2342854"/>
              <a:gd name="connsiteX2" fmla="*/ 2880360 w 2880360"/>
              <a:gd name="connsiteY2" fmla="*/ 834094 h 2342854"/>
              <a:gd name="connsiteX3" fmla="*/ 2857500 w 2880360"/>
              <a:gd name="connsiteY3" fmla="*/ 79714 h 2342854"/>
              <a:gd name="connsiteX4" fmla="*/ 1234440 w 2880360"/>
              <a:gd name="connsiteY4" fmla="*/ 125434 h 2342854"/>
              <a:gd name="connsiteX5" fmla="*/ 22860 w 2880360"/>
              <a:gd name="connsiteY5" fmla="*/ 994114 h 2342854"/>
              <a:gd name="connsiteX0" fmla="*/ 0 w 2880360"/>
              <a:gd name="connsiteY0" fmla="*/ 868680 h 2263140"/>
              <a:gd name="connsiteX1" fmla="*/ 708660 w 2880360"/>
              <a:gd name="connsiteY1" fmla="*/ 2263140 h 2263140"/>
              <a:gd name="connsiteX2" fmla="*/ 2880360 w 2880360"/>
              <a:gd name="connsiteY2" fmla="*/ 754380 h 2263140"/>
              <a:gd name="connsiteX3" fmla="*/ 2857500 w 2880360"/>
              <a:gd name="connsiteY3" fmla="*/ 0 h 2263140"/>
              <a:gd name="connsiteX4" fmla="*/ 1234440 w 2880360"/>
              <a:gd name="connsiteY4" fmla="*/ 45720 h 2263140"/>
              <a:gd name="connsiteX5" fmla="*/ 22860 w 2880360"/>
              <a:gd name="connsiteY5" fmla="*/ 914400 h 2263140"/>
              <a:gd name="connsiteX0" fmla="*/ 0 w 2880360"/>
              <a:gd name="connsiteY0" fmla="*/ 868680 h 2263140"/>
              <a:gd name="connsiteX1" fmla="*/ 708660 w 2880360"/>
              <a:gd name="connsiteY1" fmla="*/ 2263140 h 2263140"/>
              <a:gd name="connsiteX2" fmla="*/ 2880360 w 2880360"/>
              <a:gd name="connsiteY2" fmla="*/ 754380 h 2263140"/>
              <a:gd name="connsiteX3" fmla="*/ 2857500 w 2880360"/>
              <a:gd name="connsiteY3" fmla="*/ 0 h 2263140"/>
              <a:gd name="connsiteX4" fmla="*/ 1234440 w 2880360"/>
              <a:gd name="connsiteY4" fmla="*/ 45720 h 2263140"/>
              <a:gd name="connsiteX5" fmla="*/ 22860 w 2880360"/>
              <a:gd name="connsiteY5" fmla="*/ 914400 h 2263140"/>
              <a:gd name="connsiteX0" fmla="*/ 0 w 3030441"/>
              <a:gd name="connsiteY0" fmla="*/ 868680 h 2222798"/>
              <a:gd name="connsiteX1" fmla="*/ 775895 w 3030441"/>
              <a:gd name="connsiteY1" fmla="*/ 2222798 h 2222798"/>
              <a:gd name="connsiteX2" fmla="*/ 2880360 w 3030441"/>
              <a:gd name="connsiteY2" fmla="*/ 754380 h 2222798"/>
              <a:gd name="connsiteX3" fmla="*/ 2857500 w 3030441"/>
              <a:gd name="connsiteY3" fmla="*/ 0 h 2222798"/>
              <a:gd name="connsiteX4" fmla="*/ 1234440 w 3030441"/>
              <a:gd name="connsiteY4" fmla="*/ 45720 h 2222798"/>
              <a:gd name="connsiteX5" fmla="*/ 22860 w 3030441"/>
              <a:gd name="connsiteY5" fmla="*/ 914400 h 2222798"/>
              <a:gd name="connsiteX0" fmla="*/ 0 w 2880360"/>
              <a:gd name="connsiteY0" fmla="*/ 868680 h 2222798"/>
              <a:gd name="connsiteX1" fmla="*/ 775895 w 2880360"/>
              <a:gd name="connsiteY1" fmla="*/ 2222798 h 2222798"/>
              <a:gd name="connsiteX2" fmla="*/ 2880360 w 2880360"/>
              <a:gd name="connsiteY2" fmla="*/ 754380 h 2222798"/>
              <a:gd name="connsiteX3" fmla="*/ 2857500 w 2880360"/>
              <a:gd name="connsiteY3" fmla="*/ 0 h 2222798"/>
              <a:gd name="connsiteX4" fmla="*/ 1234440 w 2880360"/>
              <a:gd name="connsiteY4" fmla="*/ 45720 h 2222798"/>
              <a:gd name="connsiteX5" fmla="*/ 22860 w 2880360"/>
              <a:gd name="connsiteY5" fmla="*/ 914400 h 2222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80360" h="2222798">
                <a:moveTo>
                  <a:pt x="0" y="868680"/>
                </a:moveTo>
                <a:lnTo>
                  <a:pt x="775895" y="2222798"/>
                </a:lnTo>
                <a:cubicBezTo>
                  <a:pt x="1477383" y="1733325"/>
                  <a:pt x="2533426" y="1124846"/>
                  <a:pt x="2880360" y="754380"/>
                </a:cubicBezTo>
                <a:lnTo>
                  <a:pt x="2857500" y="0"/>
                </a:lnTo>
                <a:lnTo>
                  <a:pt x="1234440" y="45720"/>
                </a:lnTo>
                <a:lnTo>
                  <a:pt x="22860" y="914400"/>
                </a:lnTo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Content Placeholder 8"/>
          <p:cNvSpPr txBox="1">
            <a:spLocks/>
          </p:cNvSpPr>
          <p:nvPr/>
        </p:nvSpPr>
        <p:spPr>
          <a:xfrm>
            <a:off x="609440" y="1295400"/>
            <a:ext cx="4722972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The  dataset has data on 5000 customers, covering 14 Variables as shown below; </a:t>
            </a:r>
          </a:p>
          <a:p>
            <a:pPr marL="457120" marR="0" lvl="0" indent="-457120" algn="l" defTabSz="12189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457120" marR="0" lvl="0" indent="-457120" algn="l" defTabSz="12189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8929950" y="2809099"/>
            <a:ext cx="1978582" cy="2021459"/>
            <a:chOff x="7769427" y="1514165"/>
            <a:chExt cx="2606270" cy="2662748"/>
          </a:xfrm>
        </p:grpSpPr>
        <p:grpSp>
          <p:nvGrpSpPr>
            <p:cNvPr id="71" name="Group 70"/>
            <p:cNvGrpSpPr/>
            <p:nvPr/>
          </p:nvGrpSpPr>
          <p:grpSpPr>
            <a:xfrm rot="910688">
              <a:off x="7782127" y="1560715"/>
              <a:ext cx="2593570" cy="2593570"/>
              <a:chOff x="7782127" y="1560715"/>
              <a:chExt cx="2593570" cy="2593570"/>
            </a:xfrm>
          </p:grpSpPr>
          <p:sp>
            <p:nvSpPr>
              <p:cNvPr id="82" name="Freeform 81"/>
              <p:cNvSpPr/>
              <p:nvPr/>
            </p:nvSpPr>
            <p:spPr>
              <a:xfrm rot="8758352">
                <a:off x="9284998" y="2762074"/>
                <a:ext cx="161842" cy="1081387"/>
              </a:xfrm>
              <a:custGeom>
                <a:avLst/>
                <a:gdLst>
                  <a:gd name="connsiteX0" fmla="*/ 0 w 378027"/>
                  <a:gd name="connsiteY0" fmla="*/ 0 h 3036916"/>
                  <a:gd name="connsiteX1" fmla="*/ 378027 w 378027"/>
                  <a:gd name="connsiteY1" fmla="*/ 0 h 3036916"/>
                  <a:gd name="connsiteX2" fmla="*/ 378027 w 378027"/>
                  <a:gd name="connsiteY2" fmla="*/ 3036916 h 3036916"/>
                  <a:gd name="connsiteX3" fmla="*/ 0 w 378027"/>
                  <a:gd name="connsiteY3" fmla="*/ 3036916 h 3036916"/>
                  <a:gd name="connsiteX4" fmla="*/ 0 w 378027"/>
                  <a:gd name="connsiteY4" fmla="*/ 0 h 3036916"/>
                  <a:gd name="connsiteX0" fmla="*/ 0 w 378027"/>
                  <a:gd name="connsiteY0" fmla="*/ 0 h 3036916"/>
                  <a:gd name="connsiteX1" fmla="*/ 181697 w 378027"/>
                  <a:gd name="connsiteY1" fmla="*/ 1385 h 3036916"/>
                  <a:gd name="connsiteX2" fmla="*/ 378027 w 378027"/>
                  <a:gd name="connsiteY2" fmla="*/ 0 h 3036916"/>
                  <a:gd name="connsiteX3" fmla="*/ 378027 w 378027"/>
                  <a:gd name="connsiteY3" fmla="*/ 3036916 h 3036916"/>
                  <a:gd name="connsiteX4" fmla="*/ 0 w 378027"/>
                  <a:gd name="connsiteY4" fmla="*/ 3036916 h 3036916"/>
                  <a:gd name="connsiteX5" fmla="*/ 0 w 378027"/>
                  <a:gd name="connsiteY5" fmla="*/ 0 h 3036916"/>
                  <a:gd name="connsiteX0" fmla="*/ 0 w 378027"/>
                  <a:gd name="connsiteY0" fmla="*/ 532015 h 3568931"/>
                  <a:gd name="connsiteX1" fmla="*/ 181697 w 378027"/>
                  <a:gd name="connsiteY1" fmla="*/ 0 h 3568931"/>
                  <a:gd name="connsiteX2" fmla="*/ 378027 w 378027"/>
                  <a:gd name="connsiteY2" fmla="*/ 532015 h 3568931"/>
                  <a:gd name="connsiteX3" fmla="*/ 378027 w 378027"/>
                  <a:gd name="connsiteY3" fmla="*/ 3568931 h 3568931"/>
                  <a:gd name="connsiteX4" fmla="*/ 0 w 378027"/>
                  <a:gd name="connsiteY4" fmla="*/ 3568931 h 3568931"/>
                  <a:gd name="connsiteX5" fmla="*/ 0 w 378027"/>
                  <a:gd name="connsiteY5" fmla="*/ 532015 h 3568931"/>
                  <a:gd name="connsiteX0" fmla="*/ 0 w 378027"/>
                  <a:gd name="connsiteY0" fmla="*/ 1841416 h 4878332"/>
                  <a:gd name="connsiteX1" fmla="*/ 181697 w 378027"/>
                  <a:gd name="connsiteY1" fmla="*/ 0 h 4878332"/>
                  <a:gd name="connsiteX2" fmla="*/ 378027 w 378027"/>
                  <a:gd name="connsiteY2" fmla="*/ 1841416 h 4878332"/>
                  <a:gd name="connsiteX3" fmla="*/ 378027 w 378027"/>
                  <a:gd name="connsiteY3" fmla="*/ 4878332 h 4878332"/>
                  <a:gd name="connsiteX4" fmla="*/ 0 w 378027"/>
                  <a:gd name="connsiteY4" fmla="*/ 4878332 h 4878332"/>
                  <a:gd name="connsiteX5" fmla="*/ 0 w 378027"/>
                  <a:gd name="connsiteY5" fmla="*/ 1841416 h 4878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8027" h="4878332">
                    <a:moveTo>
                      <a:pt x="0" y="1841416"/>
                    </a:moveTo>
                    <a:lnTo>
                      <a:pt x="181697" y="0"/>
                    </a:lnTo>
                    <a:lnTo>
                      <a:pt x="378027" y="1841416"/>
                    </a:lnTo>
                    <a:lnTo>
                      <a:pt x="378027" y="4878332"/>
                    </a:lnTo>
                    <a:lnTo>
                      <a:pt x="0" y="4878332"/>
                    </a:lnTo>
                    <a:lnTo>
                      <a:pt x="0" y="184141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7782127" y="1560715"/>
                <a:ext cx="2593570" cy="2593570"/>
              </a:xfrm>
              <a:prstGeom prst="ellipse">
                <a:avLst/>
              </a:prstGeom>
              <a:noFill/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7769427" y="1514165"/>
              <a:ext cx="2593570" cy="2662748"/>
              <a:chOff x="7769427" y="1514165"/>
              <a:chExt cx="2593570" cy="2662748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7769427" y="1560715"/>
                <a:ext cx="2593570" cy="2593570"/>
              </a:xfrm>
              <a:prstGeom prst="ellipse">
                <a:avLst/>
              </a:prstGeom>
              <a:noFill/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8730190" y="1514165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2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8730190" y="3568789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06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7777901" y="2605071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09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9646875" y="2621696"/>
                <a:ext cx="695120" cy="6081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03</a:t>
                </a:r>
              </a:p>
            </p:txBody>
          </p:sp>
          <p:grpSp>
            <p:nvGrpSpPr>
              <p:cNvPr id="78" name="Group 77"/>
              <p:cNvGrpSpPr/>
              <p:nvPr/>
            </p:nvGrpSpPr>
            <p:grpSpPr>
              <a:xfrm rot="295266">
                <a:off x="8154034" y="1937202"/>
                <a:ext cx="1844406" cy="1844406"/>
                <a:chOff x="8154034" y="1937202"/>
                <a:chExt cx="1844406" cy="1844406"/>
              </a:xfrm>
            </p:grpSpPr>
            <p:sp>
              <p:nvSpPr>
                <p:cNvPr id="79" name="Freeform 78"/>
                <p:cNvSpPr/>
                <p:nvPr/>
              </p:nvSpPr>
              <p:spPr>
                <a:xfrm rot="451062">
                  <a:off x="9039560" y="2140272"/>
                  <a:ext cx="152400" cy="767434"/>
                </a:xfrm>
                <a:custGeom>
                  <a:avLst/>
                  <a:gdLst>
                    <a:gd name="connsiteX0" fmla="*/ 0 w 378027"/>
                    <a:gd name="connsiteY0" fmla="*/ 0 h 3036916"/>
                    <a:gd name="connsiteX1" fmla="*/ 378027 w 378027"/>
                    <a:gd name="connsiteY1" fmla="*/ 0 h 3036916"/>
                    <a:gd name="connsiteX2" fmla="*/ 378027 w 378027"/>
                    <a:gd name="connsiteY2" fmla="*/ 3036916 h 3036916"/>
                    <a:gd name="connsiteX3" fmla="*/ 0 w 378027"/>
                    <a:gd name="connsiteY3" fmla="*/ 3036916 h 3036916"/>
                    <a:gd name="connsiteX4" fmla="*/ 0 w 378027"/>
                    <a:gd name="connsiteY4" fmla="*/ 0 h 3036916"/>
                    <a:gd name="connsiteX0" fmla="*/ 0 w 378027"/>
                    <a:gd name="connsiteY0" fmla="*/ 0 h 3036916"/>
                    <a:gd name="connsiteX1" fmla="*/ 181697 w 378027"/>
                    <a:gd name="connsiteY1" fmla="*/ 1385 h 3036916"/>
                    <a:gd name="connsiteX2" fmla="*/ 378027 w 378027"/>
                    <a:gd name="connsiteY2" fmla="*/ 0 h 3036916"/>
                    <a:gd name="connsiteX3" fmla="*/ 378027 w 378027"/>
                    <a:gd name="connsiteY3" fmla="*/ 3036916 h 3036916"/>
                    <a:gd name="connsiteX4" fmla="*/ 0 w 378027"/>
                    <a:gd name="connsiteY4" fmla="*/ 3036916 h 3036916"/>
                    <a:gd name="connsiteX5" fmla="*/ 0 w 378027"/>
                    <a:gd name="connsiteY5" fmla="*/ 0 h 3036916"/>
                    <a:gd name="connsiteX0" fmla="*/ 0 w 378027"/>
                    <a:gd name="connsiteY0" fmla="*/ 532015 h 3568931"/>
                    <a:gd name="connsiteX1" fmla="*/ 181697 w 378027"/>
                    <a:gd name="connsiteY1" fmla="*/ 0 h 3568931"/>
                    <a:gd name="connsiteX2" fmla="*/ 378027 w 378027"/>
                    <a:gd name="connsiteY2" fmla="*/ 532015 h 3568931"/>
                    <a:gd name="connsiteX3" fmla="*/ 378027 w 378027"/>
                    <a:gd name="connsiteY3" fmla="*/ 3568931 h 3568931"/>
                    <a:gd name="connsiteX4" fmla="*/ 0 w 378027"/>
                    <a:gd name="connsiteY4" fmla="*/ 3568931 h 3568931"/>
                    <a:gd name="connsiteX5" fmla="*/ 0 w 378027"/>
                    <a:gd name="connsiteY5" fmla="*/ 532015 h 3568931"/>
                    <a:gd name="connsiteX0" fmla="*/ 0 w 378027"/>
                    <a:gd name="connsiteY0" fmla="*/ 1841416 h 4878332"/>
                    <a:gd name="connsiteX1" fmla="*/ 181697 w 378027"/>
                    <a:gd name="connsiteY1" fmla="*/ 0 h 4878332"/>
                    <a:gd name="connsiteX2" fmla="*/ 378027 w 378027"/>
                    <a:gd name="connsiteY2" fmla="*/ 1841416 h 4878332"/>
                    <a:gd name="connsiteX3" fmla="*/ 378027 w 378027"/>
                    <a:gd name="connsiteY3" fmla="*/ 4878332 h 4878332"/>
                    <a:gd name="connsiteX4" fmla="*/ 0 w 378027"/>
                    <a:gd name="connsiteY4" fmla="*/ 4878332 h 4878332"/>
                    <a:gd name="connsiteX5" fmla="*/ 0 w 378027"/>
                    <a:gd name="connsiteY5" fmla="*/ 1841416 h 487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8027" h="4878332">
                      <a:moveTo>
                        <a:pt x="0" y="1841416"/>
                      </a:moveTo>
                      <a:lnTo>
                        <a:pt x="181697" y="0"/>
                      </a:lnTo>
                      <a:lnTo>
                        <a:pt x="378027" y="1841416"/>
                      </a:lnTo>
                      <a:lnTo>
                        <a:pt x="378027" y="4878332"/>
                      </a:lnTo>
                      <a:lnTo>
                        <a:pt x="0" y="4878332"/>
                      </a:lnTo>
                      <a:lnTo>
                        <a:pt x="0" y="18414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8911427" y="2701127"/>
                  <a:ext cx="305126" cy="305126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1" name="Oval 80"/>
                <p:cNvSpPr/>
                <p:nvPr/>
              </p:nvSpPr>
              <p:spPr>
                <a:xfrm>
                  <a:off x="8154034" y="1937202"/>
                  <a:ext cx="1844406" cy="1844406"/>
                </a:xfrm>
                <a:prstGeom prst="ellipse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B2F6646-012F-40DB-8063-55F5F23756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003024"/>
              </p:ext>
            </p:extLst>
          </p:nvPr>
        </p:nvGraphicFramePr>
        <p:xfrm>
          <a:off x="597032" y="2131018"/>
          <a:ext cx="5634644" cy="276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64232">
                  <a:extLst>
                    <a:ext uri="{9D8B030D-6E8A-4147-A177-3AD203B41FA5}">
                      <a16:colId xmlns:a16="http://schemas.microsoft.com/office/drawing/2014/main" val="2879865871"/>
                    </a:ext>
                  </a:extLst>
                </a:gridCol>
                <a:gridCol w="4270412">
                  <a:extLst>
                    <a:ext uri="{9D8B030D-6E8A-4147-A177-3AD203B41FA5}">
                      <a16:colId xmlns:a16="http://schemas.microsoft.com/office/drawing/2014/main" val="1844497728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dirty="0">
                          <a:latin typeface="+mj-lt"/>
                        </a:rPr>
                        <a:t>Variables</a:t>
                      </a:r>
                      <a:endParaRPr lang="en-US" sz="1100" b="1" i="0" u="none" strike="noStrike" dirty="0">
                        <a:solidFill>
                          <a:srgbClr val="22222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222222"/>
                          </a:solidFill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6350" marR="6350" marT="635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034995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ID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ustomer ID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6007955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Ag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ustomer's age in years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342003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Experienc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Years of professional experienc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391647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Incom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Annual income of the customer ($000)</a:t>
                      </a:r>
                      <a:endParaRPr lang="en-US" sz="1000" b="0" i="0" u="none" strike="noStrike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662472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</a:rPr>
                        <a:t>ZIPCod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Home Address ZIP code.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0888460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Family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Family size of the customer</a:t>
                      </a:r>
                      <a:endParaRPr lang="en-US" sz="1000" b="0" i="0" u="none" strike="noStrike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577103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</a:rPr>
                        <a:t>CCAvg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Avg. spending on credit cards per month ($000)</a:t>
                      </a:r>
                      <a:endParaRPr lang="en-US" sz="1000" b="0" i="0" u="none" strike="noStrike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7741816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Education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Education Level. 1: Undergrad; 2: Graduate; 3: Advanced/Professional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4884287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Mortgag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Value of house mortgage if any. ($000)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6549129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Personal Loan </a:t>
                      </a:r>
                      <a:r>
                        <a:rPr lang="en-US" sz="1000" b="1" u="none" strike="noStrike" dirty="0">
                          <a:effectLst/>
                        </a:rPr>
                        <a:t>(Target)</a:t>
                      </a:r>
                      <a:endParaRPr lang="en-US" sz="1000" b="1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id this customer accept the personal loan offered in the last campaign?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390485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ecurities Account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oes the customer have a securities account with the bank?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0927084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D Account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oes the customer have a certificate of deposit (CD) account with the bank?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74287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Online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oes the customer use internet banking facilities?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352834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</a:rPr>
                        <a:t>CreditCard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oes the customer use a credit card issued by the bank?</a:t>
                      </a:r>
                      <a:endParaRPr lang="en-US" sz="1000" b="0" i="0" u="none" strike="noStrike" dirty="0">
                        <a:solidFill>
                          <a:srgbClr val="22222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2593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68350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16BD8B-3B49-441B-8398-8E1D6F180C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15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135FD9-A2B3-4AF4-BD2E-073CE410E0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749245"/>
            <a:ext cx="12188825" cy="3206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loring Data</a:t>
            </a: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8707940" y="2823483"/>
            <a:ext cx="959582" cy="1117784"/>
          </a:xfrm>
          <a:custGeom>
            <a:avLst/>
            <a:gdLst>
              <a:gd name="T0" fmla="*/ 229 w 370"/>
              <a:gd name="T1" fmla="*/ 1 h 431"/>
              <a:gd name="T2" fmla="*/ 282 w 370"/>
              <a:gd name="T3" fmla="*/ 15 h 431"/>
              <a:gd name="T4" fmla="*/ 321 w 370"/>
              <a:gd name="T5" fmla="*/ 44 h 431"/>
              <a:gd name="T6" fmla="*/ 345 w 370"/>
              <a:gd name="T7" fmla="*/ 84 h 431"/>
              <a:gd name="T8" fmla="*/ 260 w 370"/>
              <a:gd name="T9" fmla="*/ 120 h 431"/>
              <a:gd name="T10" fmla="*/ 246 w 370"/>
              <a:gd name="T11" fmla="*/ 87 h 431"/>
              <a:gd name="T12" fmla="*/ 217 w 370"/>
              <a:gd name="T13" fmla="*/ 67 h 431"/>
              <a:gd name="T14" fmla="*/ 177 w 370"/>
              <a:gd name="T15" fmla="*/ 66 h 431"/>
              <a:gd name="T16" fmla="*/ 150 w 370"/>
              <a:gd name="T17" fmla="*/ 79 h 431"/>
              <a:gd name="T18" fmla="*/ 134 w 370"/>
              <a:gd name="T19" fmla="*/ 102 h 431"/>
              <a:gd name="T20" fmla="*/ 132 w 370"/>
              <a:gd name="T21" fmla="*/ 130 h 431"/>
              <a:gd name="T22" fmla="*/ 148 w 370"/>
              <a:gd name="T23" fmla="*/ 183 h 431"/>
              <a:gd name="T24" fmla="*/ 253 w 370"/>
              <a:gd name="T25" fmla="*/ 247 h 431"/>
              <a:gd name="T26" fmla="*/ 165 w 370"/>
              <a:gd name="T27" fmla="*/ 260 h 431"/>
              <a:gd name="T28" fmla="*/ 154 w 370"/>
              <a:gd name="T29" fmla="*/ 301 h 431"/>
              <a:gd name="T30" fmla="*/ 131 w 370"/>
              <a:gd name="T31" fmla="*/ 332 h 431"/>
              <a:gd name="T32" fmla="*/ 134 w 370"/>
              <a:gd name="T33" fmla="*/ 344 h 431"/>
              <a:gd name="T34" fmla="*/ 171 w 370"/>
              <a:gd name="T35" fmla="*/ 343 h 431"/>
              <a:gd name="T36" fmla="*/ 190 w 370"/>
              <a:gd name="T37" fmla="*/ 346 h 431"/>
              <a:gd name="T38" fmla="*/ 233 w 370"/>
              <a:gd name="T39" fmla="*/ 355 h 431"/>
              <a:gd name="T40" fmla="*/ 265 w 370"/>
              <a:gd name="T41" fmla="*/ 359 h 431"/>
              <a:gd name="T42" fmla="*/ 306 w 370"/>
              <a:gd name="T43" fmla="*/ 352 h 431"/>
              <a:gd name="T44" fmla="*/ 370 w 370"/>
              <a:gd name="T45" fmla="*/ 411 h 431"/>
              <a:gd name="T46" fmla="*/ 325 w 370"/>
              <a:gd name="T47" fmla="*/ 424 h 431"/>
              <a:gd name="T48" fmla="*/ 276 w 370"/>
              <a:gd name="T49" fmla="*/ 429 h 431"/>
              <a:gd name="T50" fmla="*/ 227 w 370"/>
              <a:gd name="T51" fmla="*/ 425 h 431"/>
              <a:gd name="T52" fmla="*/ 164 w 370"/>
              <a:gd name="T53" fmla="*/ 411 h 431"/>
              <a:gd name="T54" fmla="*/ 121 w 370"/>
              <a:gd name="T55" fmla="*/ 406 h 431"/>
              <a:gd name="T56" fmla="*/ 65 w 370"/>
              <a:gd name="T57" fmla="*/ 416 h 431"/>
              <a:gd name="T58" fmla="*/ 0 w 370"/>
              <a:gd name="T59" fmla="*/ 362 h 431"/>
              <a:gd name="T60" fmla="*/ 42 w 370"/>
              <a:gd name="T61" fmla="*/ 330 h 431"/>
              <a:gd name="T62" fmla="*/ 68 w 370"/>
              <a:gd name="T63" fmla="*/ 287 h 431"/>
              <a:gd name="T64" fmla="*/ 72 w 370"/>
              <a:gd name="T65" fmla="*/ 255 h 431"/>
              <a:gd name="T66" fmla="*/ 0 w 370"/>
              <a:gd name="T67" fmla="*/ 247 h 431"/>
              <a:gd name="T68" fmla="*/ 53 w 370"/>
              <a:gd name="T69" fmla="*/ 183 h 431"/>
              <a:gd name="T70" fmla="*/ 39 w 370"/>
              <a:gd name="T71" fmla="*/ 116 h 431"/>
              <a:gd name="T72" fmla="*/ 59 w 370"/>
              <a:gd name="T73" fmla="*/ 57 h 431"/>
              <a:gd name="T74" fmla="*/ 94 w 370"/>
              <a:gd name="T75" fmla="*/ 25 h 431"/>
              <a:gd name="T76" fmla="*/ 155 w 370"/>
              <a:gd name="T77" fmla="*/ 4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70" h="431">
                <a:moveTo>
                  <a:pt x="197" y="0"/>
                </a:moveTo>
                <a:lnTo>
                  <a:pt x="229" y="1"/>
                </a:lnTo>
                <a:lnTo>
                  <a:pt x="256" y="7"/>
                </a:lnTo>
                <a:lnTo>
                  <a:pt x="282" y="15"/>
                </a:lnTo>
                <a:lnTo>
                  <a:pt x="303" y="28"/>
                </a:lnTo>
                <a:lnTo>
                  <a:pt x="321" y="44"/>
                </a:lnTo>
                <a:lnTo>
                  <a:pt x="335" y="63"/>
                </a:lnTo>
                <a:lnTo>
                  <a:pt x="345" y="84"/>
                </a:lnTo>
                <a:lnTo>
                  <a:pt x="351" y="109"/>
                </a:lnTo>
                <a:lnTo>
                  <a:pt x="260" y="120"/>
                </a:lnTo>
                <a:lnTo>
                  <a:pt x="255" y="102"/>
                </a:lnTo>
                <a:lnTo>
                  <a:pt x="246" y="87"/>
                </a:lnTo>
                <a:lnTo>
                  <a:pt x="236" y="77"/>
                </a:lnTo>
                <a:lnTo>
                  <a:pt x="217" y="67"/>
                </a:lnTo>
                <a:lnTo>
                  <a:pt x="194" y="63"/>
                </a:lnTo>
                <a:lnTo>
                  <a:pt x="177" y="66"/>
                </a:lnTo>
                <a:lnTo>
                  <a:pt x="163" y="70"/>
                </a:lnTo>
                <a:lnTo>
                  <a:pt x="150" y="79"/>
                </a:lnTo>
                <a:lnTo>
                  <a:pt x="140" y="90"/>
                </a:lnTo>
                <a:lnTo>
                  <a:pt x="134" y="102"/>
                </a:lnTo>
                <a:lnTo>
                  <a:pt x="131" y="117"/>
                </a:lnTo>
                <a:lnTo>
                  <a:pt x="132" y="130"/>
                </a:lnTo>
                <a:lnTo>
                  <a:pt x="137" y="148"/>
                </a:lnTo>
                <a:lnTo>
                  <a:pt x="148" y="183"/>
                </a:lnTo>
                <a:lnTo>
                  <a:pt x="253" y="183"/>
                </a:lnTo>
                <a:lnTo>
                  <a:pt x="253" y="247"/>
                </a:lnTo>
                <a:lnTo>
                  <a:pt x="164" y="247"/>
                </a:lnTo>
                <a:lnTo>
                  <a:pt x="165" y="260"/>
                </a:lnTo>
                <a:lnTo>
                  <a:pt x="163" y="281"/>
                </a:lnTo>
                <a:lnTo>
                  <a:pt x="154" y="301"/>
                </a:lnTo>
                <a:lnTo>
                  <a:pt x="145" y="314"/>
                </a:lnTo>
                <a:lnTo>
                  <a:pt x="131" y="332"/>
                </a:lnTo>
                <a:lnTo>
                  <a:pt x="114" y="350"/>
                </a:lnTo>
                <a:lnTo>
                  <a:pt x="134" y="344"/>
                </a:lnTo>
                <a:lnTo>
                  <a:pt x="160" y="343"/>
                </a:lnTo>
                <a:lnTo>
                  <a:pt x="171" y="343"/>
                </a:lnTo>
                <a:lnTo>
                  <a:pt x="181" y="344"/>
                </a:lnTo>
                <a:lnTo>
                  <a:pt x="190" y="346"/>
                </a:lnTo>
                <a:lnTo>
                  <a:pt x="209" y="349"/>
                </a:lnTo>
                <a:lnTo>
                  <a:pt x="233" y="355"/>
                </a:lnTo>
                <a:lnTo>
                  <a:pt x="252" y="357"/>
                </a:lnTo>
                <a:lnTo>
                  <a:pt x="265" y="359"/>
                </a:lnTo>
                <a:lnTo>
                  <a:pt x="283" y="356"/>
                </a:lnTo>
                <a:lnTo>
                  <a:pt x="306" y="352"/>
                </a:lnTo>
                <a:lnTo>
                  <a:pt x="334" y="342"/>
                </a:lnTo>
                <a:lnTo>
                  <a:pt x="370" y="411"/>
                </a:lnTo>
                <a:lnTo>
                  <a:pt x="349" y="418"/>
                </a:lnTo>
                <a:lnTo>
                  <a:pt x="325" y="424"/>
                </a:lnTo>
                <a:lnTo>
                  <a:pt x="301" y="428"/>
                </a:lnTo>
                <a:lnTo>
                  <a:pt x="276" y="429"/>
                </a:lnTo>
                <a:lnTo>
                  <a:pt x="255" y="428"/>
                </a:lnTo>
                <a:lnTo>
                  <a:pt x="227" y="425"/>
                </a:lnTo>
                <a:lnTo>
                  <a:pt x="196" y="418"/>
                </a:lnTo>
                <a:lnTo>
                  <a:pt x="164" y="411"/>
                </a:lnTo>
                <a:lnTo>
                  <a:pt x="140" y="406"/>
                </a:lnTo>
                <a:lnTo>
                  <a:pt x="121" y="406"/>
                </a:lnTo>
                <a:lnTo>
                  <a:pt x="92" y="408"/>
                </a:lnTo>
                <a:lnTo>
                  <a:pt x="65" y="416"/>
                </a:lnTo>
                <a:lnTo>
                  <a:pt x="36" y="431"/>
                </a:lnTo>
                <a:lnTo>
                  <a:pt x="0" y="362"/>
                </a:lnTo>
                <a:lnTo>
                  <a:pt x="23" y="346"/>
                </a:lnTo>
                <a:lnTo>
                  <a:pt x="42" y="330"/>
                </a:lnTo>
                <a:lnTo>
                  <a:pt x="55" y="313"/>
                </a:lnTo>
                <a:lnTo>
                  <a:pt x="68" y="287"/>
                </a:lnTo>
                <a:lnTo>
                  <a:pt x="72" y="263"/>
                </a:lnTo>
                <a:lnTo>
                  <a:pt x="72" y="255"/>
                </a:lnTo>
                <a:lnTo>
                  <a:pt x="71" y="247"/>
                </a:lnTo>
                <a:lnTo>
                  <a:pt x="0" y="247"/>
                </a:lnTo>
                <a:lnTo>
                  <a:pt x="0" y="183"/>
                </a:lnTo>
                <a:lnTo>
                  <a:pt x="53" y="183"/>
                </a:lnTo>
                <a:lnTo>
                  <a:pt x="43" y="150"/>
                </a:lnTo>
                <a:lnTo>
                  <a:pt x="39" y="116"/>
                </a:lnTo>
                <a:lnTo>
                  <a:pt x="45" y="86"/>
                </a:lnTo>
                <a:lnTo>
                  <a:pt x="59" y="57"/>
                </a:lnTo>
                <a:lnTo>
                  <a:pt x="75" y="40"/>
                </a:lnTo>
                <a:lnTo>
                  <a:pt x="94" y="25"/>
                </a:lnTo>
                <a:lnTo>
                  <a:pt x="117" y="14"/>
                </a:lnTo>
                <a:lnTo>
                  <a:pt x="155" y="4"/>
                </a:lnTo>
                <a:lnTo>
                  <a:pt x="19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6592995" y="2841637"/>
            <a:ext cx="993296" cy="1081476"/>
          </a:xfrm>
          <a:custGeom>
            <a:avLst/>
            <a:gdLst>
              <a:gd name="T0" fmla="*/ 0 w 383"/>
              <a:gd name="T1" fmla="*/ 0 h 417"/>
              <a:gd name="T2" fmla="*/ 105 w 383"/>
              <a:gd name="T3" fmla="*/ 0 h 417"/>
              <a:gd name="T4" fmla="*/ 173 w 383"/>
              <a:gd name="T5" fmla="*/ 120 h 417"/>
              <a:gd name="T6" fmla="*/ 184 w 383"/>
              <a:gd name="T7" fmla="*/ 142 h 417"/>
              <a:gd name="T8" fmla="*/ 191 w 383"/>
              <a:gd name="T9" fmla="*/ 161 h 417"/>
              <a:gd name="T10" fmla="*/ 199 w 383"/>
              <a:gd name="T11" fmla="*/ 142 h 417"/>
              <a:gd name="T12" fmla="*/ 209 w 383"/>
              <a:gd name="T13" fmla="*/ 120 h 417"/>
              <a:gd name="T14" fmla="*/ 278 w 383"/>
              <a:gd name="T15" fmla="*/ 0 h 417"/>
              <a:gd name="T16" fmla="*/ 383 w 383"/>
              <a:gd name="T17" fmla="*/ 0 h 417"/>
              <a:gd name="T18" fmla="*/ 276 w 383"/>
              <a:gd name="T19" fmla="*/ 179 h 417"/>
              <a:gd name="T20" fmla="*/ 365 w 383"/>
              <a:gd name="T21" fmla="*/ 179 h 417"/>
              <a:gd name="T22" fmla="*/ 365 w 383"/>
              <a:gd name="T23" fmla="*/ 241 h 417"/>
              <a:gd name="T24" fmla="*/ 237 w 383"/>
              <a:gd name="T25" fmla="*/ 241 h 417"/>
              <a:gd name="T26" fmla="*/ 237 w 383"/>
              <a:gd name="T27" fmla="*/ 276 h 417"/>
              <a:gd name="T28" fmla="*/ 365 w 383"/>
              <a:gd name="T29" fmla="*/ 276 h 417"/>
              <a:gd name="T30" fmla="*/ 365 w 383"/>
              <a:gd name="T31" fmla="*/ 339 h 417"/>
              <a:gd name="T32" fmla="*/ 237 w 383"/>
              <a:gd name="T33" fmla="*/ 339 h 417"/>
              <a:gd name="T34" fmla="*/ 237 w 383"/>
              <a:gd name="T35" fmla="*/ 417 h 417"/>
              <a:gd name="T36" fmla="*/ 143 w 383"/>
              <a:gd name="T37" fmla="*/ 417 h 417"/>
              <a:gd name="T38" fmla="*/ 143 w 383"/>
              <a:gd name="T39" fmla="*/ 339 h 417"/>
              <a:gd name="T40" fmla="*/ 17 w 383"/>
              <a:gd name="T41" fmla="*/ 339 h 417"/>
              <a:gd name="T42" fmla="*/ 17 w 383"/>
              <a:gd name="T43" fmla="*/ 276 h 417"/>
              <a:gd name="T44" fmla="*/ 143 w 383"/>
              <a:gd name="T45" fmla="*/ 276 h 417"/>
              <a:gd name="T46" fmla="*/ 143 w 383"/>
              <a:gd name="T47" fmla="*/ 241 h 417"/>
              <a:gd name="T48" fmla="*/ 17 w 383"/>
              <a:gd name="T49" fmla="*/ 241 h 417"/>
              <a:gd name="T50" fmla="*/ 17 w 383"/>
              <a:gd name="T51" fmla="*/ 179 h 417"/>
              <a:gd name="T52" fmla="*/ 107 w 383"/>
              <a:gd name="T53" fmla="*/ 179 h 417"/>
              <a:gd name="T54" fmla="*/ 0 w 383"/>
              <a:gd name="T5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83" h="417">
                <a:moveTo>
                  <a:pt x="0" y="0"/>
                </a:moveTo>
                <a:lnTo>
                  <a:pt x="105" y="0"/>
                </a:lnTo>
                <a:lnTo>
                  <a:pt x="173" y="120"/>
                </a:lnTo>
                <a:lnTo>
                  <a:pt x="184" y="142"/>
                </a:lnTo>
                <a:lnTo>
                  <a:pt x="191" y="161"/>
                </a:lnTo>
                <a:lnTo>
                  <a:pt x="199" y="142"/>
                </a:lnTo>
                <a:lnTo>
                  <a:pt x="209" y="120"/>
                </a:lnTo>
                <a:lnTo>
                  <a:pt x="278" y="0"/>
                </a:lnTo>
                <a:lnTo>
                  <a:pt x="383" y="0"/>
                </a:lnTo>
                <a:lnTo>
                  <a:pt x="276" y="179"/>
                </a:lnTo>
                <a:lnTo>
                  <a:pt x="365" y="179"/>
                </a:lnTo>
                <a:lnTo>
                  <a:pt x="365" y="241"/>
                </a:lnTo>
                <a:lnTo>
                  <a:pt x="237" y="241"/>
                </a:lnTo>
                <a:lnTo>
                  <a:pt x="237" y="276"/>
                </a:lnTo>
                <a:lnTo>
                  <a:pt x="365" y="276"/>
                </a:lnTo>
                <a:lnTo>
                  <a:pt x="365" y="339"/>
                </a:lnTo>
                <a:lnTo>
                  <a:pt x="237" y="339"/>
                </a:lnTo>
                <a:lnTo>
                  <a:pt x="237" y="417"/>
                </a:lnTo>
                <a:lnTo>
                  <a:pt x="143" y="417"/>
                </a:lnTo>
                <a:lnTo>
                  <a:pt x="143" y="339"/>
                </a:lnTo>
                <a:lnTo>
                  <a:pt x="17" y="339"/>
                </a:lnTo>
                <a:lnTo>
                  <a:pt x="17" y="276"/>
                </a:lnTo>
                <a:lnTo>
                  <a:pt x="143" y="276"/>
                </a:lnTo>
                <a:lnTo>
                  <a:pt x="143" y="241"/>
                </a:lnTo>
                <a:lnTo>
                  <a:pt x="17" y="241"/>
                </a:lnTo>
                <a:lnTo>
                  <a:pt x="17" y="179"/>
                </a:lnTo>
                <a:lnTo>
                  <a:pt x="107" y="17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66"/>
          <p:cNvSpPr>
            <a:spLocks noEditPoints="1"/>
          </p:cNvSpPr>
          <p:nvPr/>
        </p:nvSpPr>
        <p:spPr bwMode="auto">
          <a:xfrm>
            <a:off x="4612909" y="2724930"/>
            <a:ext cx="858436" cy="1314890"/>
          </a:xfrm>
          <a:custGeom>
            <a:avLst/>
            <a:gdLst>
              <a:gd name="T0" fmla="*/ 191 w 331"/>
              <a:gd name="T1" fmla="*/ 392 h 507"/>
              <a:gd name="T2" fmla="*/ 233 w 331"/>
              <a:gd name="T3" fmla="*/ 372 h 507"/>
              <a:gd name="T4" fmla="*/ 249 w 331"/>
              <a:gd name="T5" fmla="*/ 335 h 507"/>
              <a:gd name="T6" fmla="*/ 236 w 331"/>
              <a:gd name="T7" fmla="*/ 301 h 507"/>
              <a:gd name="T8" fmla="*/ 210 w 331"/>
              <a:gd name="T9" fmla="*/ 287 h 507"/>
              <a:gd name="T10" fmla="*/ 142 w 331"/>
              <a:gd name="T11" fmla="*/ 89 h 507"/>
              <a:gd name="T12" fmla="*/ 111 w 331"/>
              <a:gd name="T13" fmla="*/ 109 h 507"/>
              <a:gd name="T14" fmla="*/ 99 w 331"/>
              <a:gd name="T15" fmla="*/ 139 h 507"/>
              <a:gd name="T16" fmla="*/ 109 w 331"/>
              <a:gd name="T17" fmla="*/ 166 h 507"/>
              <a:gd name="T18" fmla="*/ 142 w 331"/>
              <a:gd name="T19" fmla="*/ 188 h 507"/>
              <a:gd name="T20" fmla="*/ 142 w 331"/>
              <a:gd name="T21" fmla="*/ 0 h 507"/>
              <a:gd name="T22" fmla="*/ 191 w 331"/>
              <a:gd name="T23" fmla="*/ 27 h 507"/>
              <a:gd name="T24" fmla="*/ 253 w 331"/>
              <a:gd name="T25" fmla="*/ 43 h 507"/>
              <a:gd name="T26" fmla="*/ 296 w 331"/>
              <a:gd name="T27" fmla="*/ 77 h 507"/>
              <a:gd name="T28" fmla="*/ 318 w 331"/>
              <a:gd name="T29" fmla="*/ 126 h 507"/>
              <a:gd name="T30" fmla="*/ 224 w 331"/>
              <a:gd name="T31" fmla="*/ 116 h 507"/>
              <a:gd name="T32" fmla="*/ 191 w 331"/>
              <a:gd name="T33" fmla="*/ 90 h 507"/>
              <a:gd name="T34" fmla="*/ 228 w 331"/>
              <a:gd name="T35" fmla="*/ 211 h 507"/>
              <a:gd name="T36" fmla="*/ 283 w 331"/>
              <a:gd name="T37" fmla="*/ 235 h 507"/>
              <a:gd name="T38" fmla="*/ 318 w 331"/>
              <a:gd name="T39" fmla="*/ 270 h 507"/>
              <a:gd name="T40" fmla="*/ 331 w 331"/>
              <a:gd name="T41" fmla="*/ 324 h 507"/>
              <a:gd name="T42" fmla="*/ 322 w 331"/>
              <a:gd name="T43" fmla="*/ 372 h 507"/>
              <a:gd name="T44" fmla="*/ 295 w 331"/>
              <a:gd name="T45" fmla="*/ 411 h 507"/>
              <a:gd name="T46" fmla="*/ 250 w 331"/>
              <a:gd name="T47" fmla="*/ 439 h 507"/>
              <a:gd name="T48" fmla="*/ 191 w 331"/>
              <a:gd name="T49" fmla="*/ 454 h 507"/>
              <a:gd name="T50" fmla="*/ 142 w 331"/>
              <a:gd name="T51" fmla="*/ 507 h 507"/>
              <a:gd name="T52" fmla="*/ 106 w 331"/>
              <a:gd name="T53" fmla="*/ 450 h 507"/>
              <a:gd name="T54" fmla="*/ 47 w 331"/>
              <a:gd name="T55" fmla="*/ 419 h 507"/>
              <a:gd name="T56" fmla="*/ 10 w 331"/>
              <a:gd name="T57" fmla="*/ 368 h 507"/>
              <a:gd name="T58" fmla="*/ 89 w 331"/>
              <a:gd name="T59" fmla="*/ 324 h 507"/>
              <a:gd name="T60" fmla="*/ 109 w 331"/>
              <a:gd name="T61" fmla="*/ 363 h 507"/>
              <a:gd name="T62" fmla="*/ 142 w 331"/>
              <a:gd name="T63" fmla="*/ 388 h 507"/>
              <a:gd name="T64" fmla="*/ 102 w 331"/>
              <a:gd name="T65" fmla="*/ 255 h 507"/>
              <a:gd name="T66" fmla="*/ 45 w 331"/>
              <a:gd name="T67" fmla="*/ 221 h 507"/>
              <a:gd name="T68" fmla="*/ 17 w 331"/>
              <a:gd name="T69" fmla="*/ 171 h 507"/>
              <a:gd name="T70" fmla="*/ 19 w 331"/>
              <a:gd name="T71" fmla="*/ 113 h 507"/>
              <a:gd name="T72" fmla="*/ 49 w 331"/>
              <a:gd name="T73" fmla="*/ 64 h 507"/>
              <a:gd name="T74" fmla="*/ 106 w 331"/>
              <a:gd name="T75" fmla="*/ 34 h 507"/>
              <a:gd name="T76" fmla="*/ 142 w 331"/>
              <a:gd name="T77" fmla="*/ 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1" h="507">
                <a:moveTo>
                  <a:pt x="191" y="281"/>
                </a:moveTo>
                <a:lnTo>
                  <a:pt x="191" y="392"/>
                </a:lnTo>
                <a:lnTo>
                  <a:pt x="214" y="385"/>
                </a:lnTo>
                <a:lnTo>
                  <a:pt x="233" y="372"/>
                </a:lnTo>
                <a:lnTo>
                  <a:pt x="244" y="355"/>
                </a:lnTo>
                <a:lnTo>
                  <a:pt x="249" y="335"/>
                </a:lnTo>
                <a:lnTo>
                  <a:pt x="246" y="317"/>
                </a:lnTo>
                <a:lnTo>
                  <a:pt x="236" y="301"/>
                </a:lnTo>
                <a:lnTo>
                  <a:pt x="224" y="293"/>
                </a:lnTo>
                <a:lnTo>
                  <a:pt x="210" y="287"/>
                </a:lnTo>
                <a:lnTo>
                  <a:pt x="191" y="281"/>
                </a:lnTo>
                <a:close/>
                <a:moveTo>
                  <a:pt x="142" y="89"/>
                </a:moveTo>
                <a:lnTo>
                  <a:pt x="125" y="97"/>
                </a:lnTo>
                <a:lnTo>
                  <a:pt x="111" y="109"/>
                </a:lnTo>
                <a:lnTo>
                  <a:pt x="102" y="123"/>
                </a:lnTo>
                <a:lnTo>
                  <a:pt x="99" y="139"/>
                </a:lnTo>
                <a:lnTo>
                  <a:pt x="102" y="153"/>
                </a:lnTo>
                <a:lnTo>
                  <a:pt x="109" y="166"/>
                </a:lnTo>
                <a:lnTo>
                  <a:pt x="124" y="178"/>
                </a:lnTo>
                <a:lnTo>
                  <a:pt x="142" y="188"/>
                </a:lnTo>
                <a:lnTo>
                  <a:pt x="142" y="89"/>
                </a:lnTo>
                <a:close/>
                <a:moveTo>
                  <a:pt x="142" y="0"/>
                </a:moveTo>
                <a:lnTo>
                  <a:pt x="191" y="0"/>
                </a:lnTo>
                <a:lnTo>
                  <a:pt x="191" y="27"/>
                </a:lnTo>
                <a:lnTo>
                  <a:pt x="224" y="33"/>
                </a:lnTo>
                <a:lnTo>
                  <a:pt x="253" y="43"/>
                </a:lnTo>
                <a:lnTo>
                  <a:pt x="277" y="59"/>
                </a:lnTo>
                <a:lnTo>
                  <a:pt x="296" y="77"/>
                </a:lnTo>
                <a:lnTo>
                  <a:pt x="309" y="100"/>
                </a:lnTo>
                <a:lnTo>
                  <a:pt x="318" y="126"/>
                </a:lnTo>
                <a:lnTo>
                  <a:pt x="231" y="136"/>
                </a:lnTo>
                <a:lnTo>
                  <a:pt x="224" y="116"/>
                </a:lnTo>
                <a:lnTo>
                  <a:pt x="210" y="100"/>
                </a:lnTo>
                <a:lnTo>
                  <a:pt x="191" y="90"/>
                </a:lnTo>
                <a:lnTo>
                  <a:pt x="191" y="201"/>
                </a:lnTo>
                <a:lnTo>
                  <a:pt x="228" y="211"/>
                </a:lnTo>
                <a:lnTo>
                  <a:pt x="260" y="222"/>
                </a:lnTo>
                <a:lnTo>
                  <a:pt x="283" y="235"/>
                </a:lnTo>
                <a:lnTo>
                  <a:pt x="302" y="250"/>
                </a:lnTo>
                <a:lnTo>
                  <a:pt x="318" y="270"/>
                </a:lnTo>
                <a:lnTo>
                  <a:pt x="328" y="296"/>
                </a:lnTo>
                <a:lnTo>
                  <a:pt x="331" y="324"/>
                </a:lnTo>
                <a:lnTo>
                  <a:pt x="329" y="349"/>
                </a:lnTo>
                <a:lnTo>
                  <a:pt x="322" y="372"/>
                </a:lnTo>
                <a:lnTo>
                  <a:pt x="310" y="392"/>
                </a:lnTo>
                <a:lnTo>
                  <a:pt x="295" y="411"/>
                </a:lnTo>
                <a:lnTo>
                  <a:pt x="274" y="427"/>
                </a:lnTo>
                <a:lnTo>
                  <a:pt x="250" y="439"/>
                </a:lnTo>
                <a:lnTo>
                  <a:pt x="223" y="448"/>
                </a:lnTo>
                <a:lnTo>
                  <a:pt x="191" y="454"/>
                </a:lnTo>
                <a:lnTo>
                  <a:pt x="191" y="507"/>
                </a:lnTo>
                <a:lnTo>
                  <a:pt x="142" y="507"/>
                </a:lnTo>
                <a:lnTo>
                  <a:pt x="142" y="455"/>
                </a:lnTo>
                <a:lnTo>
                  <a:pt x="106" y="450"/>
                </a:lnTo>
                <a:lnTo>
                  <a:pt x="75" y="437"/>
                </a:lnTo>
                <a:lnTo>
                  <a:pt x="47" y="419"/>
                </a:lnTo>
                <a:lnTo>
                  <a:pt x="26" y="396"/>
                </a:lnTo>
                <a:lnTo>
                  <a:pt x="10" y="368"/>
                </a:lnTo>
                <a:lnTo>
                  <a:pt x="0" y="333"/>
                </a:lnTo>
                <a:lnTo>
                  <a:pt x="89" y="324"/>
                </a:lnTo>
                <a:lnTo>
                  <a:pt x="96" y="346"/>
                </a:lnTo>
                <a:lnTo>
                  <a:pt x="109" y="363"/>
                </a:lnTo>
                <a:lnTo>
                  <a:pt x="125" y="378"/>
                </a:lnTo>
                <a:lnTo>
                  <a:pt x="142" y="388"/>
                </a:lnTo>
                <a:lnTo>
                  <a:pt x="142" y="268"/>
                </a:lnTo>
                <a:lnTo>
                  <a:pt x="102" y="255"/>
                </a:lnTo>
                <a:lnTo>
                  <a:pt x="69" y="240"/>
                </a:lnTo>
                <a:lnTo>
                  <a:pt x="45" y="221"/>
                </a:lnTo>
                <a:lnTo>
                  <a:pt x="27" y="198"/>
                </a:lnTo>
                <a:lnTo>
                  <a:pt x="17" y="171"/>
                </a:lnTo>
                <a:lnTo>
                  <a:pt x="14" y="142"/>
                </a:lnTo>
                <a:lnTo>
                  <a:pt x="19" y="113"/>
                </a:lnTo>
                <a:lnTo>
                  <a:pt x="30" y="87"/>
                </a:lnTo>
                <a:lnTo>
                  <a:pt x="49" y="64"/>
                </a:lnTo>
                <a:lnTo>
                  <a:pt x="75" y="46"/>
                </a:lnTo>
                <a:lnTo>
                  <a:pt x="106" y="34"/>
                </a:lnTo>
                <a:lnTo>
                  <a:pt x="142" y="27"/>
                </a:lnTo>
                <a:lnTo>
                  <a:pt x="14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2521303" y="2823483"/>
            <a:ext cx="969956" cy="1117784"/>
          </a:xfrm>
          <a:custGeom>
            <a:avLst/>
            <a:gdLst>
              <a:gd name="T0" fmla="*/ 275 w 374"/>
              <a:gd name="T1" fmla="*/ 0 h 431"/>
              <a:gd name="T2" fmla="*/ 311 w 374"/>
              <a:gd name="T3" fmla="*/ 1 h 431"/>
              <a:gd name="T4" fmla="*/ 344 w 374"/>
              <a:gd name="T5" fmla="*/ 7 h 431"/>
              <a:gd name="T6" fmla="*/ 374 w 374"/>
              <a:gd name="T7" fmla="*/ 17 h 431"/>
              <a:gd name="T8" fmla="*/ 354 w 374"/>
              <a:gd name="T9" fmla="*/ 96 h 431"/>
              <a:gd name="T10" fmla="*/ 332 w 374"/>
              <a:gd name="T11" fmla="*/ 83 h 431"/>
              <a:gd name="T12" fmla="*/ 303 w 374"/>
              <a:gd name="T13" fmla="*/ 74 h 431"/>
              <a:gd name="T14" fmla="*/ 270 w 374"/>
              <a:gd name="T15" fmla="*/ 71 h 431"/>
              <a:gd name="T16" fmla="*/ 243 w 374"/>
              <a:gd name="T17" fmla="*/ 74 h 431"/>
              <a:gd name="T18" fmla="*/ 220 w 374"/>
              <a:gd name="T19" fmla="*/ 80 h 431"/>
              <a:gd name="T20" fmla="*/ 198 w 374"/>
              <a:gd name="T21" fmla="*/ 90 h 431"/>
              <a:gd name="T22" fmla="*/ 181 w 374"/>
              <a:gd name="T23" fmla="*/ 104 h 431"/>
              <a:gd name="T24" fmla="*/ 164 w 374"/>
              <a:gd name="T25" fmla="*/ 126 h 431"/>
              <a:gd name="T26" fmla="*/ 154 w 374"/>
              <a:gd name="T27" fmla="*/ 152 h 431"/>
              <a:gd name="T28" fmla="*/ 339 w 374"/>
              <a:gd name="T29" fmla="*/ 152 h 431"/>
              <a:gd name="T30" fmla="*/ 328 w 374"/>
              <a:gd name="T31" fmla="*/ 195 h 431"/>
              <a:gd name="T32" fmla="*/ 147 w 374"/>
              <a:gd name="T33" fmla="*/ 195 h 431"/>
              <a:gd name="T34" fmla="*/ 147 w 374"/>
              <a:gd name="T35" fmla="*/ 204 h 431"/>
              <a:gd name="T36" fmla="*/ 147 w 374"/>
              <a:gd name="T37" fmla="*/ 212 h 431"/>
              <a:gd name="T38" fmla="*/ 147 w 374"/>
              <a:gd name="T39" fmla="*/ 222 h 431"/>
              <a:gd name="T40" fmla="*/ 147 w 374"/>
              <a:gd name="T41" fmla="*/ 234 h 431"/>
              <a:gd name="T42" fmla="*/ 319 w 374"/>
              <a:gd name="T43" fmla="*/ 234 h 431"/>
              <a:gd name="T44" fmla="*/ 308 w 374"/>
              <a:gd name="T45" fmla="*/ 277 h 431"/>
              <a:gd name="T46" fmla="*/ 154 w 374"/>
              <a:gd name="T47" fmla="*/ 277 h 431"/>
              <a:gd name="T48" fmla="*/ 164 w 374"/>
              <a:gd name="T49" fmla="*/ 304 h 431"/>
              <a:gd name="T50" fmla="*/ 180 w 374"/>
              <a:gd name="T51" fmla="*/ 324 h 431"/>
              <a:gd name="T52" fmla="*/ 198 w 374"/>
              <a:gd name="T53" fmla="*/ 340 h 431"/>
              <a:gd name="T54" fmla="*/ 219 w 374"/>
              <a:gd name="T55" fmla="*/ 350 h 431"/>
              <a:gd name="T56" fmla="*/ 242 w 374"/>
              <a:gd name="T57" fmla="*/ 356 h 431"/>
              <a:gd name="T58" fmla="*/ 267 w 374"/>
              <a:gd name="T59" fmla="*/ 359 h 431"/>
              <a:gd name="T60" fmla="*/ 299 w 374"/>
              <a:gd name="T61" fmla="*/ 356 h 431"/>
              <a:gd name="T62" fmla="*/ 326 w 374"/>
              <a:gd name="T63" fmla="*/ 350 h 431"/>
              <a:gd name="T64" fmla="*/ 351 w 374"/>
              <a:gd name="T65" fmla="*/ 340 h 431"/>
              <a:gd name="T66" fmla="*/ 371 w 374"/>
              <a:gd name="T67" fmla="*/ 324 h 431"/>
              <a:gd name="T68" fmla="*/ 371 w 374"/>
              <a:gd name="T69" fmla="*/ 412 h 431"/>
              <a:gd name="T70" fmla="*/ 341 w 374"/>
              <a:gd name="T71" fmla="*/ 422 h 431"/>
              <a:gd name="T72" fmla="*/ 306 w 374"/>
              <a:gd name="T73" fmla="*/ 428 h 431"/>
              <a:gd name="T74" fmla="*/ 269 w 374"/>
              <a:gd name="T75" fmla="*/ 431 h 431"/>
              <a:gd name="T76" fmla="*/ 230 w 374"/>
              <a:gd name="T77" fmla="*/ 428 h 431"/>
              <a:gd name="T78" fmla="*/ 196 w 374"/>
              <a:gd name="T79" fmla="*/ 421 h 431"/>
              <a:gd name="T80" fmla="*/ 162 w 374"/>
              <a:gd name="T81" fmla="*/ 411 h 431"/>
              <a:gd name="T82" fmla="*/ 134 w 374"/>
              <a:gd name="T83" fmla="*/ 393 h 431"/>
              <a:gd name="T84" fmla="*/ 106 w 374"/>
              <a:gd name="T85" fmla="*/ 373 h 431"/>
              <a:gd name="T86" fmla="*/ 81 w 374"/>
              <a:gd name="T87" fmla="*/ 346 h 431"/>
              <a:gd name="T88" fmla="*/ 62 w 374"/>
              <a:gd name="T89" fmla="*/ 313 h 431"/>
              <a:gd name="T90" fmla="*/ 49 w 374"/>
              <a:gd name="T91" fmla="*/ 277 h 431"/>
              <a:gd name="T92" fmla="*/ 0 w 374"/>
              <a:gd name="T93" fmla="*/ 277 h 431"/>
              <a:gd name="T94" fmla="*/ 10 w 374"/>
              <a:gd name="T95" fmla="*/ 234 h 431"/>
              <a:gd name="T96" fmla="*/ 43 w 374"/>
              <a:gd name="T97" fmla="*/ 234 h 431"/>
              <a:gd name="T98" fmla="*/ 43 w 374"/>
              <a:gd name="T99" fmla="*/ 218 h 431"/>
              <a:gd name="T100" fmla="*/ 43 w 374"/>
              <a:gd name="T101" fmla="*/ 195 h 431"/>
              <a:gd name="T102" fmla="*/ 0 w 374"/>
              <a:gd name="T103" fmla="*/ 195 h 431"/>
              <a:gd name="T104" fmla="*/ 10 w 374"/>
              <a:gd name="T105" fmla="*/ 152 h 431"/>
              <a:gd name="T106" fmla="*/ 50 w 374"/>
              <a:gd name="T107" fmla="*/ 152 h 431"/>
              <a:gd name="T108" fmla="*/ 63 w 374"/>
              <a:gd name="T109" fmla="*/ 116 h 431"/>
              <a:gd name="T110" fmla="*/ 82 w 374"/>
              <a:gd name="T111" fmla="*/ 84 h 431"/>
              <a:gd name="T112" fmla="*/ 106 w 374"/>
              <a:gd name="T113" fmla="*/ 57 h 431"/>
              <a:gd name="T114" fmla="*/ 134 w 374"/>
              <a:gd name="T115" fmla="*/ 37 h 431"/>
              <a:gd name="T116" fmla="*/ 164 w 374"/>
              <a:gd name="T117" fmla="*/ 20 h 431"/>
              <a:gd name="T118" fmla="*/ 198 w 374"/>
              <a:gd name="T119" fmla="*/ 8 h 431"/>
              <a:gd name="T120" fmla="*/ 234 w 374"/>
              <a:gd name="T121" fmla="*/ 2 h 431"/>
              <a:gd name="T122" fmla="*/ 275 w 374"/>
              <a:gd name="T123" fmla="*/ 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4" h="431">
                <a:moveTo>
                  <a:pt x="275" y="0"/>
                </a:moveTo>
                <a:lnTo>
                  <a:pt x="311" y="1"/>
                </a:lnTo>
                <a:lnTo>
                  <a:pt x="344" y="7"/>
                </a:lnTo>
                <a:lnTo>
                  <a:pt x="374" y="17"/>
                </a:lnTo>
                <a:lnTo>
                  <a:pt x="354" y="96"/>
                </a:lnTo>
                <a:lnTo>
                  <a:pt x="332" y="83"/>
                </a:lnTo>
                <a:lnTo>
                  <a:pt x="303" y="74"/>
                </a:lnTo>
                <a:lnTo>
                  <a:pt x="270" y="71"/>
                </a:lnTo>
                <a:lnTo>
                  <a:pt x="243" y="74"/>
                </a:lnTo>
                <a:lnTo>
                  <a:pt x="220" y="80"/>
                </a:lnTo>
                <a:lnTo>
                  <a:pt x="198" y="90"/>
                </a:lnTo>
                <a:lnTo>
                  <a:pt x="181" y="104"/>
                </a:lnTo>
                <a:lnTo>
                  <a:pt x="164" y="126"/>
                </a:lnTo>
                <a:lnTo>
                  <a:pt x="154" y="152"/>
                </a:lnTo>
                <a:lnTo>
                  <a:pt x="339" y="152"/>
                </a:lnTo>
                <a:lnTo>
                  <a:pt x="328" y="195"/>
                </a:lnTo>
                <a:lnTo>
                  <a:pt x="147" y="195"/>
                </a:lnTo>
                <a:lnTo>
                  <a:pt x="147" y="204"/>
                </a:lnTo>
                <a:lnTo>
                  <a:pt x="147" y="212"/>
                </a:lnTo>
                <a:lnTo>
                  <a:pt x="147" y="222"/>
                </a:lnTo>
                <a:lnTo>
                  <a:pt x="147" y="234"/>
                </a:lnTo>
                <a:lnTo>
                  <a:pt x="319" y="234"/>
                </a:lnTo>
                <a:lnTo>
                  <a:pt x="308" y="277"/>
                </a:lnTo>
                <a:lnTo>
                  <a:pt x="154" y="277"/>
                </a:lnTo>
                <a:lnTo>
                  <a:pt x="164" y="304"/>
                </a:lnTo>
                <a:lnTo>
                  <a:pt x="180" y="324"/>
                </a:lnTo>
                <a:lnTo>
                  <a:pt x="198" y="340"/>
                </a:lnTo>
                <a:lnTo>
                  <a:pt x="219" y="350"/>
                </a:lnTo>
                <a:lnTo>
                  <a:pt x="242" y="356"/>
                </a:lnTo>
                <a:lnTo>
                  <a:pt x="267" y="359"/>
                </a:lnTo>
                <a:lnTo>
                  <a:pt x="299" y="356"/>
                </a:lnTo>
                <a:lnTo>
                  <a:pt x="326" y="350"/>
                </a:lnTo>
                <a:lnTo>
                  <a:pt x="351" y="340"/>
                </a:lnTo>
                <a:lnTo>
                  <a:pt x="371" y="324"/>
                </a:lnTo>
                <a:lnTo>
                  <a:pt x="371" y="412"/>
                </a:lnTo>
                <a:lnTo>
                  <a:pt x="341" y="422"/>
                </a:lnTo>
                <a:lnTo>
                  <a:pt x="306" y="428"/>
                </a:lnTo>
                <a:lnTo>
                  <a:pt x="269" y="431"/>
                </a:lnTo>
                <a:lnTo>
                  <a:pt x="230" y="428"/>
                </a:lnTo>
                <a:lnTo>
                  <a:pt x="196" y="421"/>
                </a:lnTo>
                <a:lnTo>
                  <a:pt x="162" y="411"/>
                </a:lnTo>
                <a:lnTo>
                  <a:pt x="134" y="393"/>
                </a:lnTo>
                <a:lnTo>
                  <a:pt x="106" y="373"/>
                </a:lnTo>
                <a:lnTo>
                  <a:pt x="81" y="346"/>
                </a:lnTo>
                <a:lnTo>
                  <a:pt x="62" y="313"/>
                </a:lnTo>
                <a:lnTo>
                  <a:pt x="49" y="277"/>
                </a:lnTo>
                <a:lnTo>
                  <a:pt x="0" y="277"/>
                </a:lnTo>
                <a:lnTo>
                  <a:pt x="10" y="234"/>
                </a:lnTo>
                <a:lnTo>
                  <a:pt x="43" y="234"/>
                </a:lnTo>
                <a:lnTo>
                  <a:pt x="43" y="218"/>
                </a:lnTo>
                <a:lnTo>
                  <a:pt x="43" y="195"/>
                </a:lnTo>
                <a:lnTo>
                  <a:pt x="0" y="195"/>
                </a:lnTo>
                <a:lnTo>
                  <a:pt x="10" y="152"/>
                </a:lnTo>
                <a:lnTo>
                  <a:pt x="50" y="152"/>
                </a:lnTo>
                <a:lnTo>
                  <a:pt x="63" y="116"/>
                </a:lnTo>
                <a:lnTo>
                  <a:pt x="82" y="84"/>
                </a:lnTo>
                <a:lnTo>
                  <a:pt x="106" y="57"/>
                </a:lnTo>
                <a:lnTo>
                  <a:pt x="134" y="37"/>
                </a:lnTo>
                <a:lnTo>
                  <a:pt x="164" y="20"/>
                </a:lnTo>
                <a:lnTo>
                  <a:pt x="198" y="8"/>
                </a:lnTo>
                <a:lnTo>
                  <a:pt x="234" y="2"/>
                </a:lnTo>
                <a:lnTo>
                  <a:pt x="27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 flipH="1">
            <a:off x="4290670" y="5320650"/>
            <a:ext cx="3607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ection 1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923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E656A6-B943-46AD-9991-B792ACA44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306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BD4CFD-6F5B-43F4-B714-CA39DE7753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ummary – Basic profiling</a:t>
            </a:r>
          </a:p>
        </p:txBody>
      </p:sp>
      <p:sp>
        <p:nvSpPr>
          <p:cNvPr id="79" name="Rectangle 78"/>
          <p:cNvSpPr/>
          <p:nvPr/>
        </p:nvSpPr>
        <p:spPr>
          <a:xfrm>
            <a:off x="-1" y="6024985"/>
            <a:ext cx="12188825" cy="8330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2A0766-7F64-49BD-B60B-3643739CFE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9737" y="915504"/>
            <a:ext cx="4733855" cy="49933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6792BB0-9C63-414F-A6D6-89E05ECA9662}"/>
              </a:ext>
            </a:extLst>
          </p:cNvPr>
          <p:cNvSpPr/>
          <p:nvPr/>
        </p:nvSpPr>
        <p:spPr>
          <a:xfrm>
            <a:off x="5486559" y="866742"/>
            <a:ext cx="6092825" cy="6186309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Age profile:</a:t>
            </a:r>
            <a:r>
              <a:rPr lang="en-US" sz="1800" dirty="0"/>
              <a:t> Ranging between 23 to 67 years. The avg. and of most common (or mode) age being ~45 years.</a:t>
            </a:r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Experience profile:</a:t>
            </a:r>
            <a:r>
              <a:rPr lang="en-US" sz="1800" dirty="0"/>
              <a:t> Ranging between 3 to 43 years. The avg. and of most common experience being ~20years.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Income profile:</a:t>
            </a:r>
            <a:r>
              <a:rPr lang="en-US" sz="1800" dirty="0"/>
              <a:t> Ranging between USD 8 to 224K per annum. The an avg. income being ~USD74k.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Family size:</a:t>
            </a:r>
            <a:r>
              <a:rPr lang="en-US" sz="1800" dirty="0"/>
              <a:t> Ranging between 1 to 4 </a:t>
            </a:r>
            <a:r>
              <a:rPr lang="en-US" sz="1800" dirty="0" err="1"/>
              <a:t>pax</a:t>
            </a:r>
            <a:r>
              <a:rPr lang="en-US" sz="1800" dirty="0"/>
              <a:t>. The avg. and of most common size being  2 </a:t>
            </a:r>
            <a:r>
              <a:rPr lang="en-US" sz="1800" dirty="0" err="1"/>
              <a:t>pax</a:t>
            </a:r>
            <a:r>
              <a:rPr lang="en-US" sz="1800" dirty="0"/>
              <a:t>.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Credit Card usage:</a:t>
            </a:r>
            <a:r>
              <a:rPr lang="en-US" sz="1800" dirty="0"/>
              <a:t> Ranging between 0 to 10x per month. The an avg. usage and most common being ~2x per month.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Education profile:</a:t>
            </a:r>
            <a:r>
              <a:rPr lang="en-US" sz="1800" dirty="0"/>
              <a:t> Ranging between 1 to 3years. The avg. and of most common (or mode) education in years being ~2.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House Mortgage :</a:t>
            </a:r>
            <a:r>
              <a:rPr lang="en-US" sz="1800" dirty="0"/>
              <a:t> Ranging between USD 0 to 635K per annum. The an avg. mortgage being ~USD57k.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59975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E656A6-B943-46AD-9991-B792ACA44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324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E656A6-B943-46AD-9991-B792ACA44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BD4CFD-6F5B-43F4-B714-CA39DE7753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ummary – Understanding data relationships</a:t>
            </a:r>
          </a:p>
        </p:txBody>
      </p:sp>
      <p:sp>
        <p:nvSpPr>
          <p:cNvPr id="79" name="Rectangle 78"/>
          <p:cNvSpPr/>
          <p:nvPr/>
        </p:nvSpPr>
        <p:spPr>
          <a:xfrm>
            <a:off x="-1" y="6024985"/>
            <a:ext cx="12188825" cy="8330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792BB0-9C63-414F-A6D6-89E05ECA9662}"/>
              </a:ext>
            </a:extLst>
          </p:cNvPr>
          <p:cNvSpPr/>
          <p:nvPr/>
        </p:nvSpPr>
        <p:spPr>
          <a:xfrm>
            <a:off x="5486559" y="866742"/>
            <a:ext cx="6092825" cy="4191917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Personal Loans (Target) has shown a strong positive relation with below variables, as shown in plot to the right;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Annual Income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Credit card usage per month 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Having a certificate of deposits</a:t>
            </a:r>
          </a:p>
          <a:p>
            <a:pPr marL="457120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And less so with;</a:t>
            </a:r>
          </a:p>
          <a:p>
            <a:pPr marL="1066614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Education level </a:t>
            </a:r>
          </a:p>
          <a:p>
            <a:pPr marL="1066614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Mortgage</a:t>
            </a:r>
          </a:p>
          <a:p>
            <a:pPr>
              <a:spcBef>
                <a:spcPct val="20000"/>
              </a:spcBef>
              <a:defRPr/>
            </a:pPr>
            <a:r>
              <a:rPr lang="en-US" sz="1600" i="1" dirty="0"/>
              <a:t>Note that variables are listed in Descending order, based on their correlation strength with personal loans.</a:t>
            </a:r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  <a:p>
            <a:pPr lvl="0">
              <a:spcBef>
                <a:spcPct val="20000"/>
              </a:spcBef>
              <a:defRPr/>
            </a:pPr>
            <a:endParaRPr lang="en-US" sz="1800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ACDF264-242B-4669-9155-D378B4925942}"/>
              </a:ext>
            </a:extLst>
          </p:cNvPr>
          <p:cNvPicPr/>
          <p:nvPr/>
        </p:nvPicPr>
        <p:blipFill rotWithShape="1">
          <a:blip r:embed="rId7"/>
          <a:srcRect t="4487"/>
          <a:stretch/>
        </p:blipFill>
        <p:spPr bwMode="auto">
          <a:xfrm>
            <a:off x="823804" y="1649411"/>
            <a:ext cx="4619625" cy="3529853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8C4E0BC-19E8-4771-86A0-3DC42E374DCE}"/>
              </a:ext>
            </a:extLst>
          </p:cNvPr>
          <p:cNvSpPr txBox="1"/>
          <p:nvPr/>
        </p:nvSpPr>
        <p:spPr>
          <a:xfrm>
            <a:off x="780087" y="1354502"/>
            <a:ext cx="412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Correlation Matrix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980114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E656A6-B943-46AD-9991-B792ACA44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138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E656A6-B943-46AD-9991-B792ACA44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BD4CFD-6F5B-43F4-B714-CA39DE7753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ummary – Understanding my variables  </a:t>
            </a:r>
          </a:p>
        </p:txBody>
      </p:sp>
      <p:sp>
        <p:nvSpPr>
          <p:cNvPr id="79" name="Rectangle 78"/>
          <p:cNvSpPr/>
          <p:nvPr/>
        </p:nvSpPr>
        <p:spPr>
          <a:xfrm>
            <a:off x="-1" y="6024985"/>
            <a:ext cx="12188825" cy="8330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EC9896-89A1-4032-8FEF-81B63FF1BF75}"/>
              </a:ext>
            </a:extLst>
          </p:cNvPr>
          <p:cNvGrpSpPr/>
          <p:nvPr/>
        </p:nvGrpSpPr>
        <p:grpSpPr>
          <a:xfrm>
            <a:off x="1971377" y="985720"/>
            <a:ext cx="7774943" cy="3206796"/>
            <a:chOff x="610464" y="1449225"/>
            <a:chExt cx="7774943" cy="320679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4DAEABF-C254-407A-977E-B660A680F9BB}"/>
                </a:ext>
              </a:extLst>
            </p:cNvPr>
            <p:cNvGrpSpPr/>
            <p:nvPr/>
          </p:nvGrpSpPr>
          <p:grpSpPr>
            <a:xfrm>
              <a:off x="610464" y="1449225"/>
              <a:ext cx="2290575" cy="3054100"/>
              <a:chOff x="902442" y="2207360"/>
              <a:chExt cx="2290575" cy="3054100"/>
            </a:xfrm>
          </p:grpSpPr>
          <p:pic>
            <p:nvPicPr>
              <p:cNvPr id="11" name="Picture">
                <a:extLst>
                  <a:ext uri="{FF2B5EF4-FFF2-40B4-BE49-F238E27FC236}">
                    <a16:creationId xmlns:a16="http://schemas.microsoft.com/office/drawing/2014/main" id="{BCFB1940-EB80-4F7A-A962-C93FB37DEE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 bwMode="auto">
              <a:xfrm>
                <a:off x="902442" y="2207360"/>
                <a:ext cx="2290575" cy="1832460"/>
              </a:xfrm>
              <a:prstGeom prst="rect">
                <a:avLst/>
              </a:prstGeom>
              <a:noFill/>
              <a:ln w="9525">
                <a:noFill/>
                <a:headEnd/>
                <a:tailEnd/>
              </a:ln>
            </p:spPr>
          </p:pic>
          <p:pic>
            <p:nvPicPr>
              <p:cNvPr id="12" name="Picture">
                <a:extLst>
                  <a:ext uri="{FF2B5EF4-FFF2-40B4-BE49-F238E27FC236}">
                    <a16:creationId xmlns:a16="http://schemas.microsoft.com/office/drawing/2014/main" id="{A61FE66E-759D-432A-B367-8A5375EEB41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t="15419" b="17914"/>
              <a:stretch/>
            </p:blipFill>
            <p:spPr bwMode="auto">
              <a:xfrm>
                <a:off x="902442" y="4039819"/>
                <a:ext cx="2290575" cy="1221641"/>
              </a:xfrm>
              <a:prstGeom prst="rect">
                <a:avLst/>
              </a:prstGeom>
              <a:noFill/>
              <a:ln w="9525">
                <a:noFill/>
                <a:headEnd/>
                <a:tailEnd/>
              </a:ln>
            </p:spPr>
          </p:pic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DBBA498-18EF-4768-AB89-7D6957977DF7}"/>
                </a:ext>
              </a:extLst>
            </p:cNvPr>
            <p:cNvGrpSpPr/>
            <p:nvPr/>
          </p:nvGrpSpPr>
          <p:grpSpPr>
            <a:xfrm>
              <a:off x="2943751" y="1449225"/>
              <a:ext cx="2171700" cy="3054100"/>
              <a:chOff x="2943751" y="1449225"/>
              <a:chExt cx="2171700" cy="3054100"/>
            </a:xfrm>
          </p:grpSpPr>
          <p:pic>
            <p:nvPicPr>
              <p:cNvPr id="13" name="Picture">
                <a:extLst>
                  <a:ext uri="{FF2B5EF4-FFF2-40B4-BE49-F238E27FC236}">
                    <a16:creationId xmlns:a16="http://schemas.microsoft.com/office/drawing/2014/main" id="{828E71A2-CB1E-45E0-BA00-400E821A49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 bwMode="auto">
              <a:xfrm>
                <a:off x="2943751" y="1449225"/>
                <a:ext cx="2171700" cy="1737360"/>
              </a:xfrm>
              <a:prstGeom prst="rect">
                <a:avLst/>
              </a:prstGeom>
              <a:noFill/>
              <a:ln w="9525">
                <a:noFill/>
                <a:headEnd/>
                <a:tailEnd/>
              </a:ln>
            </p:spPr>
          </p:pic>
          <p:pic>
            <p:nvPicPr>
              <p:cNvPr id="14" name="Picture">
                <a:extLst>
                  <a:ext uri="{FF2B5EF4-FFF2-40B4-BE49-F238E27FC236}">
                    <a16:creationId xmlns:a16="http://schemas.microsoft.com/office/drawing/2014/main" id="{361F8EE1-4CA1-436D-BBDE-3A2AB0E8E0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b="20401"/>
              <a:stretch/>
            </p:blipFill>
            <p:spPr bwMode="auto">
              <a:xfrm>
                <a:off x="2943751" y="3120406"/>
                <a:ext cx="2171700" cy="1382919"/>
              </a:xfrm>
              <a:prstGeom prst="rect">
                <a:avLst/>
              </a:prstGeom>
              <a:noFill/>
              <a:ln w="9525">
                <a:noFill/>
                <a:headEnd/>
                <a:tailEnd/>
              </a:ln>
            </p:spPr>
          </p:pic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7962406-D9B7-408D-83B6-5265803AA6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6173" t="9909" r="16173" b="27728"/>
            <a:stretch/>
          </p:blipFill>
          <p:spPr>
            <a:xfrm>
              <a:off x="5162426" y="1449225"/>
              <a:ext cx="3222981" cy="167118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8580010-C134-48D6-BAE4-FD7573CD6A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16172" t="9910" r="15742" b="32133"/>
            <a:stretch/>
          </p:blipFill>
          <p:spPr>
            <a:xfrm>
              <a:off x="5163094" y="3123590"/>
              <a:ext cx="3200400" cy="1532431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F66AD91-AFEB-480E-BB9A-210EAF8C3CD3}"/>
              </a:ext>
            </a:extLst>
          </p:cNvPr>
          <p:cNvSpPr txBox="1"/>
          <p:nvPr/>
        </p:nvSpPr>
        <p:spPr>
          <a:xfrm>
            <a:off x="1971377" y="4192516"/>
            <a:ext cx="233328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he income profile is skewed to right, with some visible outliers. Meaning that most of customer base are in lower earning brackets between 25-100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64F841-E178-49F5-A07B-C46EE9BD4B0B}"/>
              </a:ext>
            </a:extLst>
          </p:cNvPr>
          <p:cNvSpPr txBox="1"/>
          <p:nvPr/>
        </p:nvSpPr>
        <p:spPr>
          <a:xfrm>
            <a:off x="4223870" y="4198033"/>
            <a:ext cx="23332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redit profile is also skewed to right, with highly visible outliers. Meaning that most of customer base are low spenders between 0-3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4FBCF6D-48ED-485B-8056-AF50E1C78CFD}"/>
              </a:ext>
            </a:extLst>
          </p:cNvPr>
          <p:cNvSpPr txBox="1"/>
          <p:nvPr/>
        </p:nvSpPr>
        <p:spPr>
          <a:xfrm>
            <a:off x="6548440" y="4178561"/>
            <a:ext cx="23332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Nearly 3500 clients has a mortgage below USD50k. Higher mortgage value are not very common.</a:t>
            </a:r>
          </a:p>
        </p:txBody>
      </p:sp>
    </p:spTree>
    <p:extLst>
      <p:ext uri="{BB962C8B-B14F-4D97-AF65-F5344CB8AC3E}">
        <p14:creationId xmlns:p14="http://schemas.microsoft.com/office/powerpoint/2010/main" val="19875723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16BD8B-3B49-441B-8398-8E1D6F180C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23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16BD8B-3B49-441B-8398-8E1D6F180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135FD9-A2B3-4AF4-BD2E-073CE410E0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749245"/>
            <a:ext cx="12188825" cy="3206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ient Base Clustering</a:t>
            </a: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8707940" y="2823483"/>
            <a:ext cx="959582" cy="1117784"/>
          </a:xfrm>
          <a:custGeom>
            <a:avLst/>
            <a:gdLst>
              <a:gd name="T0" fmla="*/ 229 w 370"/>
              <a:gd name="T1" fmla="*/ 1 h 431"/>
              <a:gd name="T2" fmla="*/ 282 w 370"/>
              <a:gd name="T3" fmla="*/ 15 h 431"/>
              <a:gd name="T4" fmla="*/ 321 w 370"/>
              <a:gd name="T5" fmla="*/ 44 h 431"/>
              <a:gd name="T6" fmla="*/ 345 w 370"/>
              <a:gd name="T7" fmla="*/ 84 h 431"/>
              <a:gd name="T8" fmla="*/ 260 w 370"/>
              <a:gd name="T9" fmla="*/ 120 h 431"/>
              <a:gd name="T10" fmla="*/ 246 w 370"/>
              <a:gd name="T11" fmla="*/ 87 h 431"/>
              <a:gd name="T12" fmla="*/ 217 w 370"/>
              <a:gd name="T13" fmla="*/ 67 h 431"/>
              <a:gd name="T14" fmla="*/ 177 w 370"/>
              <a:gd name="T15" fmla="*/ 66 h 431"/>
              <a:gd name="T16" fmla="*/ 150 w 370"/>
              <a:gd name="T17" fmla="*/ 79 h 431"/>
              <a:gd name="T18" fmla="*/ 134 w 370"/>
              <a:gd name="T19" fmla="*/ 102 h 431"/>
              <a:gd name="T20" fmla="*/ 132 w 370"/>
              <a:gd name="T21" fmla="*/ 130 h 431"/>
              <a:gd name="T22" fmla="*/ 148 w 370"/>
              <a:gd name="T23" fmla="*/ 183 h 431"/>
              <a:gd name="T24" fmla="*/ 253 w 370"/>
              <a:gd name="T25" fmla="*/ 247 h 431"/>
              <a:gd name="T26" fmla="*/ 165 w 370"/>
              <a:gd name="T27" fmla="*/ 260 h 431"/>
              <a:gd name="T28" fmla="*/ 154 w 370"/>
              <a:gd name="T29" fmla="*/ 301 h 431"/>
              <a:gd name="T30" fmla="*/ 131 w 370"/>
              <a:gd name="T31" fmla="*/ 332 h 431"/>
              <a:gd name="T32" fmla="*/ 134 w 370"/>
              <a:gd name="T33" fmla="*/ 344 h 431"/>
              <a:gd name="T34" fmla="*/ 171 w 370"/>
              <a:gd name="T35" fmla="*/ 343 h 431"/>
              <a:gd name="T36" fmla="*/ 190 w 370"/>
              <a:gd name="T37" fmla="*/ 346 h 431"/>
              <a:gd name="T38" fmla="*/ 233 w 370"/>
              <a:gd name="T39" fmla="*/ 355 h 431"/>
              <a:gd name="T40" fmla="*/ 265 w 370"/>
              <a:gd name="T41" fmla="*/ 359 h 431"/>
              <a:gd name="T42" fmla="*/ 306 w 370"/>
              <a:gd name="T43" fmla="*/ 352 h 431"/>
              <a:gd name="T44" fmla="*/ 370 w 370"/>
              <a:gd name="T45" fmla="*/ 411 h 431"/>
              <a:gd name="T46" fmla="*/ 325 w 370"/>
              <a:gd name="T47" fmla="*/ 424 h 431"/>
              <a:gd name="T48" fmla="*/ 276 w 370"/>
              <a:gd name="T49" fmla="*/ 429 h 431"/>
              <a:gd name="T50" fmla="*/ 227 w 370"/>
              <a:gd name="T51" fmla="*/ 425 h 431"/>
              <a:gd name="T52" fmla="*/ 164 w 370"/>
              <a:gd name="T53" fmla="*/ 411 h 431"/>
              <a:gd name="T54" fmla="*/ 121 w 370"/>
              <a:gd name="T55" fmla="*/ 406 h 431"/>
              <a:gd name="T56" fmla="*/ 65 w 370"/>
              <a:gd name="T57" fmla="*/ 416 h 431"/>
              <a:gd name="T58" fmla="*/ 0 w 370"/>
              <a:gd name="T59" fmla="*/ 362 h 431"/>
              <a:gd name="T60" fmla="*/ 42 w 370"/>
              <a:gd name="T61" fmla="*/ 330 h 431"/>
              <a:gd name="T62" fmla="*/ 68 w 370"/>
              <a:gd name="T63" fmla="*/ 287 h 431"/>
              <a:gd name="T64" fmla="*/ 72 w 370"/>
              <a:gd name="T65" fmla="*/ 255 h 431"/>
              <a:gd name="T66" fmla="*/ 0 w 370"/>
              <a:gd name="T67" fmla="*/ 247 h 431"/>
              <a:gd name="T68" fmla="*/ 53 w 370"/>
              <a:gd name="T69" fmla="*/ 183 h 431"/>
              <a:gd name="T70" fmla="*/ 39 w 370"/>
              <a:gd name="T71" fmla="*/ 116 h 431"/>
              <a:gd name="T72" fmla="*/ 59 w 370"/>
              <a:gd name="T73" fmla="*/ 57 h 431"/>
              <a:gd name="T74" fmla="*/ 94 w 370"/>
              <a:gd name="T75" fmla="*/ 25 h 431"/>
              <a:gd name="T76" fmla="*/ 155 w 370"/>
              <a:gd name="T77" fmla="*/ 4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70" h="431">
                <a:moveTo>
                  <a:pt x="197" y="0"/>
                </a:moveTo>
                <a:lnTo>
                  <a:pt x="229" y="1"/>
                </a:lnTo>
                <a:lnTo>
                  <a:pt x="256" y="7"/>
                </a:lnTo>
                <a:lnTo>
                  <a:pt x="282" y="15"/>
                </a:lnTo>
                <a:lnTo>
                  <a:pt x="303" y="28"/>
                </a:lnTo>
                <a:lnTo>
                  <a:pt x="321" y="44"/>
                </a:lnTo>
                <a:lnTo>
                  <a:pt x="335" y="63"/>
                </a:lnTo>
                <a:lnTo>
                  <a:pt x="345" y="84"/>
                </a:lnTo>
                <a:lnTo>
                  <a:pt x="351" y="109"/>
                </a:lnTo>
                <a:lnTo>
                  <a:pt x="260" y="120"/>
                </a:lnTo>
                <a:lnTo>
                  <a:pt x="255" y="102"/>
                </a:lnTo>
                <a:lnTo>
                  <a:pt x="246" y="87"/>
                </a:lnTo>
                <a:lnTo>
                  <a:pt x="236" y="77"/>
                </a:lnTo>
                <a:lnTo>
                  <a:pt x="217" y="67"/>
                </a:lnTo>
                <a:lnTo>
                  <a:pt x="194" y="63"/>
                </a:lnTo>
                <a:lnTo>
                  <a:pt x="177" y="66"/>
                </a:lnTo>
                <a:lnTo>
                  <a:pt x="163" y="70"/>
                </a:lnTo>
                <a:lnTo>
                  <a:pt x="150" y="79"/>
                </a:lnTo>
                <a:lnTo>
                  <a:pt x="140" y="90"/>
                </a:lnTo>
                <a:lnTo>
                  <a:pt x="134" y="102"/>
                </a:lnTo>
                <a:lnTo>
                  <a:pt x="131" y="117"/>
                </a:lnTo>
                <a:lnTo>
                  <a:pt x="132" y="130"/>
                </a:lnTo>
                <a:lnTo>
                  <a:pt x="137" y="148"/>
                </a:lnTo>
                <a:lnTo>
                  <a:pt x="148" y="183"/>
                </a:lnTo>
                <a:lnTo>
                  <a:pt x="253" y="183"/>
                </a:lnTo>
                <a:lnTo>
                  <a:pt x="253" y="247"/>
                </a:lnTo>
                <a:lnTo>
                  <a:pt x="164" y="247"/>
                </a:lnTo>
                <a:lnTo>
                  <a:pt x="165" y="260"/>
                </a:lnTo>
                <a:lnTo>
                  <a:pt x="163" y="281"/>
                </a:lnTo>
                <a:lnTo>
                  <a:pt x="154" y="301"/>
                </a:lnTo>
                <a:lnTo>
                  <a:pt x="145" y="314"/>
                </a:lnTo>
                <a:lnTo>
                  <a:pt x="131" y="332"/>
                </a:lnTo>
                <a:lnTo>
                  <a:pt x="114" y="350"/>
                </a:lnTo>
                <a:lnTo>
                  <a:pt x="134" y="344"/>
                </a:lnTo>
                <a:lnTo>
                  <a:pt x="160" y="343"/>
                </a:lnTo>
                <a:lnTo>
                  <a:pt x="171" y="343"/>
                </a:lnTo>
                <a:lnTo>
                  <a:pt x="181" y="344"/>
                </a:lnTo>
                <a:lnTo>
                  <a:pt x="190" y="346"/>
                </a:lnTo>
                <a:lnTo>
                  <a:pt x="209" y="349"/>
                </a:lnTo>
                <a:lnTo>
                  <a:pt x="233" y="355"/>
                </a:lnTo>
                <a:lnTo>
                  <a:pt x="252" y="357"/>
                </a:lnTo>
                <a:lnTo>
                  <a:pt x="265" y="359"/>
                </a:lnTo>
                <a:lnTo>
                  <a:pt x="283" y="356"/>
                </a:lnTo>
                <a:lnTo>
                  <a:pt x="306" y="352"/>
                </a:lnTo>
                <a:lnTo>
                  <a:pt x="334" y="342"/>
                </a:lnTo>
                <a:lnTo>
                  <a:pt x="370" y="411"/>
                </a:lnTo>
                <a:lnTo>
                  <a:pt x="349" y="418"/>
                </a:lnTo>
                <a:lnTo>
                  <a:pt x="325" y="424"/>
                </a:lnTo>
                <a:lnTo>
                  <a:pt x="301" y="428"/>
                </a:lnTo>
                <a:lnTo>
                  <a:pt x="276" y="429"/>
                </a:lnTo>
                <a:lnTo>
                  <a:pt x="255" y="428"/>
                </a:lnTo>
                <a:lnTo>
                  <a:pt x="227" y="425"/>
                </a:lnTo>
                <a:lnTo>
                  <a:pt x="196" y="418"/>
                </a:lnTo>
                <a:lnTo>
                  <a:pt x="164" y="411"/>
                </a:lnTo>
                <a:lnTo>
                  <a:pt x="140" y="406"/>
                </a:lnTo>
                <a:lnTo>
                  <a:pt x="121" y="406"/>
                </a:lnTo>
                <a:lnTo>
                  <a:pt x="92" y="408"/>
                </a:lnTo>
                <a:lnTo>
                  <a:pt x="65" y="416"/>
                </a:lnTo>
                <a:lnTo>
                  <a:pt x="36" y="431"/>
                </a:lnTo>
                <a:lnTo>
                  <a:pt x="0" y="362"/>
                </a:lnTo>
                <a:lnTo>
                  <a:pt x="23" y="346"/>
                </a:lnTo>
                <a:lnTo>
                  <a:pt x="42" y="330"/>
                </a:lnTo>
                <a:lnTo>
                  <a:pt x="55" y="313"/>
                </a:lnTo>
                <a:lnTo>
                  <a:pt x="68" y="287"/>
                </a:lnTo>
                <a:lnTo>
                  <a:pt x="72" y="263"/>
                </a:lnTo>
                <a:lnTo>
                  <a:pt x="72" y="255"/>
                </a:lnTo>
                <a:lnTo>
                  <a:pt x="71" y="247"/>
                </a:lnTo>
                <a:lnTo>
                  <a:pt x="0" y="247"/>
                </a:lnTo>
                <a:lnTo>
                  <a:pt x="0" y="183"/>
                </a:lnTo>
                <a:lnTo>
                  <a:pt x="53" y="183"/>
                </a:lnTo>
                <a:lnTo>
                  <a:pt x="43" y="150"/>
                </a:lnTo>
                <a:lnTo>
                  <a:pt x="39" y="116"/>
                </a:lnTo>
                <a:lnTo>
                  <a:pt x="45" y="86"/>
                </a:lnTo>
                <a:lnTo>
                  <a:pt x="59" y="57"/>
                </a:lnTo>
                <a:lnTo>
                  <a:pt x="75" y="40"/>
                </a:lnTo>
                <a:lnTo>
                  <a:pt x="94" y="25"/>
                </a:lnTo>
                <a:lnTo>
                  <a:pt x="117" y="14"/>
                </a:lnTo>
                <a:lnTo>
                  <a:pt x="155" y="4"/>
                </a:lnTo>
                <a:lnTo>
                  <a:pt x="19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6592995" y="2841637"/>
            <a:ext cx="993296" cy="1081476"/>
          </a:xfrm>
          <a:custGeom>
            <a:avLst/>
            <a:gdLst>
              <a:gd name="T0" fmla="*/ 0 w 383"/>
              <a:gd name="T1" fmla="*/ 0 h 417"/>
              <a:gd name="T2" fmla="*/ 105 w 383"/>
              <a:gd name="T3" fmla="*/ 0 h 417"/>
              <a:gd name="T4" fmla="*/ 173 w 383"/>
              <a:gd name="T5" fmla="*/ 120 h 417"/>
              <a:gd name="T6" fmla="*/ 184 w 383"/>
              <a:gd name="T7" fmla="*/ 142 h 417"/>
              <a:gd name="T8" fmla="*/ 191 w 383"/>
              <a:gd name="T9" fmla="*/ 161 h 417"/>
              <a:gd name="T10" fmla="*/ 199 w 383"/>
              <a:gd name="T11" fmla="*/ 142 h 417"/>
              <a:gd name="T12" fmla="*/ 209 w 383"/>
              <a:gd name="T13" fmla="*/ 120 h 417"/>
              <a:gd name="T14" fmla="*/ 278 w 383"/>
              <a:gd name="T15" fmla="*/ 0 h 417"/>
              <a:gd name="T16" fmla="*/ 383 w 383"/>
              <a:gd name="T17" fmla="*/ 0 h 417"/>
              <a:gd name="T18" fmla="*/ 276 w 383"/>
              <a:gd name="T19" fmla="*/ 179 h 417"/>
              <a:gd name="T20" fmla="*/ 365 w 383"/>
              <a:gd name="T21" fmla="*/ 179 h 417"/>
              <a:gd name="T22" fmla="*/ 365 w 383"/>
              <a:gd name="T23" fmla="*/ 241 h 417"/>
              <a:gd name="T24" fmla="*/ 237 w 383"/>
              <a:gd name="T25" fmla="*/ 241 h 417"/>
              <a:gd name="T26" fmla="*/ 237 w 383"/>
              <a:gd name="T27" fmla="*/ 276 h 417"/>
              <a:gd name="T28" fmla="*/ 365 w 383"/>
              <a:gd name="T29" fmla="*/ 276 h 417"/>
              <a:gd name="T30" fmla="*/ 365 w 383"/>
              <a:gd name="T31" fmla="*/ 339 h 417"/>
              <a:gd name="T32" fmla="*/ 237 w 383"/>
              <a:gd name="T33" fmla="*/ 339 h 417"/>
              <a:gd name="T34" fmla="*/ 237 w 383"/>
              <a:gd name="T35" fmla="*/ 417 h 417"/>
              <a:gd name="T36" fmla="*/ 143 w 383"/>
              <a:gd name="T37" fmla="*/ 417 h 417"/>
              <a:gd name="T38" fmla="*/ 143 w 383"/>
              <a:gd name="T39" fmla="*/ 339 h 417"/>
              <a:gd name="T40" fmla="*/ 17 w 383"/>
              <a:gd name="T41" fmla="*/ 339 h 417"/>
              <a:gd name="T42" fmla="*/ 17 w 383"/>
              <a:gd name="T43" fmla="*/ 276 h 417"/>
              <a:gd name="T44" fmla="*/ 143 w 383"/>
              <a:gd name="T45" fmla="*/ 276 h 417"/>
              <a:gd name="T46" fmla="*/ 143 w 383"/>
              <a:gd name="T47" fmla="*/ 241 h 417"/>
              <a:gd name="T48" fmla="*/ 17 w 383"/>
              <a:gd name="T49" fmla="*/ 241 h 417"/>
              <a:gd name="T50" fmla="*/ 17 w 383"/>
              <a:gd name="T51" fmla="*/ 179 h 417"/>
              <a:gd name="T52" fmla="*/ 107 w 383"/>
              <a:gd name="T53" fmla="*/ 179 h 417"/>
              <a:gd name="T54" fmla="*/ 0 w 383"/>
              <a:gd name="T5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83" h="417">
                <a:moveTo>
                  <a:pt x="0" y="0"/>
                </a:moveTo>
                <a:lnTo>
                  <a:pt x="105" y="0"/>
                </a:lnTo>
                <a:lnTo>
                  <a:pt x="173" y="120"/>
                </a:lnTo>
                <a:lnTo>
                  <a:pt x="184" y="142"/>
                </a:lnTo>
                <a:lnTo>
                  <a:pt x="191" y="161"/>
                </a:lnTo>
                <a:lnTo>
                  <a:pt x="199" y="142"/>
                </a:lnTo>
                <a:lnTo>
                  <a:pt x="209" y="120"/>
                </a:lnTo>
                <a:lnTo>
                  <a:pt x="278" y="0"/>
                </a:lnTo>
                <a:lnTo>
                  <a:pt x="383" y="0"/>
                </a:lnTo>
                <a:lnTo>
                  <a:pt x="276" y="179"/>
                </a:lnTo>
                <a:lnTo>
                  <a:pt x="365" y="179"/>
                </a:lnTo>
                <a:lnTo>
                  <a:pt x="365" y="241"/>
                </a:lnTo>
                <a:lnTo>
                  <a:pt x="237" y="241"/>
                </a:lnTo>
                <a:lnTo>
                  <a:pt x="237" y="276"/>
                </a:lnTo>
                <a:lnTo>
                  <a:pt x="365" y="276"/>
                </a:lnTo>
                <a:lnTo>
                  <a:pt x="365" y="339"/>
                </a:lnTo>
                <a:lnTo>
                  <a:pt x="237" y="339"/>
                </a:lnTo>
                <a:lnTo>
                  <a:pt x="237" y="417"/>
                </a:lnTo>
                <a:lnTo>
                  <a:pt x="143" y="417"/>
                </a:lnTo>
                <a:lnTo>
                  <a:pt x="143" y="339"/>
                </a:lnTo>
                <a:lnTo>
                  <a:pt x="17" y="339"/>
                </a:lnTo>
                <a:lnTo>
                  <a:pt x="17" y="276"/>
                </a:lnTo>
                <a:lnTo>
                  <a:pt x="143" y="276"/>
                </a:lnTo>
                <a:lnTo>
                  <a:pt x="143" y="241"/>
                </a:lnTo>
                <a:lnTo>
                  <a:pt x="17" y="241"/>
                </a:lnTo>
                <a:lnTo>
                  <a:pt x="17" y="179"/>
                </a:lnTo>
                <a:lnTo>
                  <a:pt x="107" y="17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66"/>
          <p:cNvSpPr>
            <a:spLocks noEditPoints="1"/>
          </p:cNvSpPr>
          <p:nvPr/>
        </p:nvSpPr>
        <p:spPr bwMode="auto">
          <a:xfrm>
            <a:off x="4612909" y="2724930"/>
            <a:ext cx="858436" cy="1314890"/>
          </a:xfrm>
          <a:custGeom>
            <a:avLst/>
            <a:gdLst>
              <a:gd name="T0" fmla="*/ 191 w 331"/>
              <a:gd name="T1" fmla="*/ 392 h 507"/>
              <a:gd name="T2" fmla="*/ 233 w 331"/>
              <a:gd name="T3" fmla="*/ 372 h 507"/>
              <a:gd name="T4" fmla="*/ 249 w 331"/>
              <a:gd name="T5" fmla="*/ 335 h 507"/>
              <a:gd name="T6" fmla="*/ 236 w 331"/>
              <a:gd name="T7" fmla="*/ 301 h 507"/>
              <a:gd name="T8" fmla="*/ 210 w 331"/>
              <a:gd name="T9" fmla="*/ 287 h 507"/>
              <a:gd name="T10" fmla="*/ 142 w 331"/>
              <a:gd name="T11" fmla="*/ 89 h 507"/>
              <a:gd name="T12" fmla="*/ 111 w 331"/>
              <a:gd name="T13" fmla="*/ 109 h 507"/>
              <a:gd name="T14" fmla="*/ 99 w 331"/>
              <a:gd name="T15" fmla="*/ 139 h 507"/>
              <a:gd name="T16" fmla="*/ 109 w 331"/>
              <a:gd name="T17" fmla="*/ 166 h 507"/>
              <a:gd name="T18" fmla="*/ 142 w 331"/>
              <a:gd name="T19" fmla="*/ 188 h 507"/>
              <a:gd name="T20" fmla="*/ 142 w 331"/>
              <a:gd name="T21" fmla="*/ 0 h 507"/>
              <a:gd name="T22" fmla="*/ 191 w 331"/>
              <a:gd name="T23" fmla="*/ 27 h 507"/>
              <a:gd name="T24" fmla="*/ 253 w 331"/>
              <a:gd name="T25" fmla="*/ 43 h 507"/>
              <a:gd name="T26" fmla="*/ 296 w 331"/>
              <a:gd name="T27" fmla="*/ 77 h 507"/>
              <a:gd name="T28" fmla="*/ 318 w 331"/>
              <a:gd name="T29" fmla="*/ 126 h 507"/>
              <a:gd name="T30" fmla="*/ 224 w 331"/>
              <a:gd name="T31" fmla="*/ 116 h 507"/>
              <a:gd name="T32" fmla="*/ 191 w 331"/>
              <a:gd name="T33" fmla="*/ 90 h 507"/>
              <a:gd name="T34" fmla="*/ 228 w 331"/>
              <a:gd name="T35" fmla="*/ 211 h 507"/>
              <a:gd name="T36" fmla="*/ 283 w 331"/>
              <a:gd name="T37" fmla="*/ 235 h 507"/>
              <a:gd name="T38" fmla="*/ 318 w 331"/>
              <a:gd name="T39" fmla="*/ 270 h 507"/>
              <a:gd name="T40" fmla="*/ 331 w 331"/>
              <a:gd name="T41" fmla="*/ 324 h 507"/>
              <a:gd name="T42" fmla="*/ 322 w 331"/>
              <a:gd name="T43" fmla="*/ 372 h 507"/>
              <a:gd name="T44" fmla="*/ 295 w 331"/>
              <a:gd name="T45" fmla="*/ 411 h 507"/>
              <a:gd name="T46" fmla="*/ 250 w 331"/>
              <a:gd name="T47" fmla="*/ 439 h 507"/>
              <a:gd name="T48" fmla="*/ 191 w 331"/>
              <a:gd name="T49" fmla="*/ 454 h 507"/>
              <a:gd name="T50" fmla="*/ 142 w 331"/>
              <a:gd name="T51" fmla="*/ 507 h 507"/>
              <a:gd name="T52" fmla="*/ 106 w 331"/>
              <a:gd name="T53" fmla="*/ 450 h 507"/>
              <a:gd name="T54" fmla="*/ 47 w 331"/>
              <a:gd name="T55" fmla="*/ 419 h 507"/>
              <a:gd name="T56" fmla="*/ 10 w 331"/>
              <a:gd name="T57" fmla="*/ 368 h 507"/>
              <a:gd name="T58" fmla="*/ 89 w 331"/>
              <a:gd name="T59" fmla="*/ 324 h 507"/>
              <a:gd name="T60" fmla="*/ 109 w 331"/>
              <a:gd name="T61" fmla="*/ 363 h 507"/>
              <a:gd name="T62" fmla="*/ 142 w 331"/>
              <a:gd name="T63" fmla="*/ 388 h 507"/>
              <a:gd name="T64" fmla="*/ 102 w 331"/>
              <a:gd name="T65" fmla="*/ 255 h 507"/>
              <a:gd name="T66" fmla="*/ 45 w 331"/>
              <a:gd name="T67" fmla="*/ 221 h 507"/>
              <a:gd name="T68" fmla="*/ 17 w 331"/>
              <a:gd name="T69" fmla="*/ 171 h 507"/>
              <a:gd name="T70" fmla="*/ 19 w 331"/>
              <a:gd name="T71" fmla="*/ 113 h 507"/>
              <a:gd name="T72" fmla="*/ 49 w 331"/>
              <a:gd name="T73" fmla="*/ 64 h 507"/>
              <a:gd name="T74" fmla="*/ 106 w 331"/>
              <a:gd name="T75" fmla="*/ 34 h 507"/>
              <a:gd name="T76" fmla="*/ 142 w 331"/>
              <a:gd name="T77" fmla="*/ 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1" h="507">
                <a:moveTo>
                  <a:pt x="191" y="281"/>
                </a:moveTo>
                <a:lnTo>
                  <a:pt x="191" y="392"/>
                </a:lnTo>
                <a:lnTo>
                  <a:pt x="214" y="385"/>
                </a:lnTo>
                <a:lnTo>
                  <a:pt x="233" y="372"/>
                </a:lnTo>
                <a:lnTo>
                  <a:pt x="244" y="355"/>
                </a:lnTo>
                <a:lnTo>
                  <a:pt x="249" y="335"/>
                </a:lnTo>
                <a:lnTo>
                  <a:pt x="246" y="317"/>
                </a:lnTo>
                <a:lnTo>
                  <a:pt x="236" y="301"/>
                </a:lnTo>
                <a:lnTo>
                  <a:pt x="224" y="293"/>
                </a:lnTo>
                <a:lnTo>
                  <a:pt x="210" y="287"/>
                </a:lnTo>
                <a:lnTo>
                  <a:pt x="191" y="281"/>
                </a:lnTo>
                <a:close/>
                <a:moveTo>
                  <a:pt x="142" y="89"/>
                </a:moveTo>
                <a:lnTo>
                  <a:pt x="125" y="97"/>
                </a:lnTo>
                <a:lnTo>
                  <a:pt x="111" y="109"/>
                </a:lnTo>
                <a:lnTo>
                  <a:pt x="102" y="123"/>
                </a:lnTo>
                <a:lnTo>
                  <a:pt x="99" y="139"/>
                </a:lnTo>
                <a:lnTo>
                  <a:pt x="102" y="153"/>
                </a:lnTo>
                <a:lnTo>
                  <a:pt x="109" y="166"/>
                </a:lnTo>
                <a:lnTo>
                  <a:pt x="124" y="178"/>
                </a:lnTo>
                <a:lnTo>
                  <a:pt x="142" y="188"/>
                </a:lnTo>
                <a:lnTo>
                  <a:pt x="142" y="89"/>
                </a:lnTo>
                <a:close/>
                <a:moveTo>
                  <a:pt x="142" y="0"/>
                </a:moveTo>
                <a:lnTo>
                  <a:pt x="191" y="0"/>
                </a:lnTo>
                <a:lnTo>
                  <a:pt x="191" y="27"/>
                </a:lnTo>
                <a:lnTo>
                  <a:pt x="224" y="33"/>
                </a:lnTo>
                <a:lnTo>
                  <a:pt x="253" y="43"/>
                </a:lnTo>
                <a:lnTo>
                  <a:pt x="277" y="59"/>
                </a:lnTo>
                <a:lnTo>
                  <a:pt x="296" y="77"/>
                </a:lnTo>
                <a:lnTo>
                  <a:pt x="309" y="100"/>
                </a:lnTo>
                <a:lnTo>
                  <a:pt x="318" y="126"/>
                </a:lnTo>
                <a:lnTo>
                  <a:pt x="231" y="136"/>
                </a:lnTo>
                <a:lnTo>
                  <a:pt x="224" y="116"/>
                </a:lnTo>
                <a:lnTo>
                  <a:pt x="210" y="100"/>
                </a:lnTo>
                <a:lnTo>
                  <a:pt x="191" y="90"/>
                </a:lnTo>
                <a:lnTo>
                  <a:pt x="191" y="201"/>
                </a:lnTo>
                <a:lnTo>
                  <a:pt x="228" y="211"/>
                </a:lnTo>
                <a:lnTo>
                  <a:pt x="260" y="222"/>
                </a:lnTo>
                <a:lnTo>
                  <a:pt x="283" y="235"/>
                </a:lnTo>
                <a:lnTo>
                  <a:pt x="302" y="250"/>
                </a:lnTo>
                <a:lnTo>
                  <a:pt x="318" y="270"/>
                </a:lnTo>
                <a:lnTo>
                  <a:pt x="328" y="296"/>
                </a:lnTo>
                <a:lnTo>
                  <a:pt x="331" y="324"/>
                </a:lnTo>
                <a:lnTo>
                  <a:pt x="329" y="349"/>
                </a:lnTo>
                <a:lnTo>
                  <a:pt x="322" y="372"/>
                </a:lnTo>
                <a:lnTo>
                  <a:pt x="310" y="392"/>
                </a:lnTo>
                <a:lnTo>
                  <a:pt x="295" y="411"/>
                </a:lnTo>
                <a:lnTo>
                  <a:pt x="274" y="427"/>
                </a:lnTo>
                <a:lnTo>
                  <a:pt x="250" y="439"/>
                </a:lnTo>
                <a:lnTo>
                  <a:pt x="223" y="448"/>
                </a:lnTo>
                <a:lnTo>
                  <a:pt x="191" y="454"/>
                </a:lnTo>
                <a:lnTo>
                  <a:pt x="191" y="507"/>
                </a:lnTo>
                <a:lnTo>
                  <a:pt x="142" y="507"/>
                </a:lnTo>
                <a:lnTo>
                  <a:pt x="142" y="455"/>
                </a:lnTo>
                <a:lnTo>
                  <a:pt x="106" y="450"/>
                </a:lnTo>
                <a:lnTo>
                  <a:pt x="75" y="437"/>
                </a:lnTo>
                <a:lnTo>
                  <a:pt x="47" y="419"/>
                </a:lnTo>
                <a:lnTo>
                  <a:pt x="26" y="396"/>
                </a:lnTo>
                <a:lnTo>
                  <a:pt x="10" y="368"/>
                </a:lnTo>
                <a:lnTo>
                  <a:pt x="0" y="333"/>
                </a:lnTo>
                <a:lnTo>
                  <a:pt x="89" y="324"/>
                </a:lnTo>
                <a:lnTo>
                  <a:pt x="96" y="346"/>
                </a:lnTo>
                <a:lnTo>
                  <a:pt x="109" y="363"/>
                </a:lnTo>
                <a:lnTo>
                  <a:pt x="125" y="378"/>
                </a:lnTo>
                <a:lnTo>
                  <a:pt x="142" y="388"/>
                </a:lnTo>
                <a:lnTo>
                  <a:pt x="142" y="268"/>
                </a:lnTo>
                <a:lnTo>
                  <a:pt x="102" y="255"/>
                </a:lnTo>
                <a:lnTo>
                  <a:pt x="69" y="240"/>
                </a:lnTo>
                <a:lnTo>
                  <a:pt x="45" y="221"/>
                </a:lnTo>
                <a:lnTo>
                  <a:pt x="27" y="198"/>
                </a:lnTo>
                <a:lnTo>
                  <a:pt x="17" y="171"/>
                </a:lnTo>
                <a:lnTo>
                  <a:pt x="14" y="142"/>
                </a:lnTo>
                <a:lnTo>
                  <a:pt x="19" y="113"/>
                </a:lnTo>
                <a:lnTo>
                  <a:pt x="30" y="87"/>
                </a:lnTo>
                <a:lnTo>
                  <a:pt x="49" y="64"/>
                </a:lnTo>
                <a:lnTo>
                  <a:pt x="75" y="46"/>
                </a:lnTo>
                <a:lnTo>
                  <a:pt x="106" y="34"/>
                </a:lnTo>
                <a:lnTo>
                  <a:pt x="142" y="27"/>
                </a:lnTo>
                <a:lnTo>
                  <a:pt x="14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2521303" y="2823483"/>
            <a:ext cx="969956" cy="1117784"/>
          </a:xfrm>
          <a:custGeom>
            <a:avLst/>
            <a:gdLst>
              <a:gd name="T0" fmla="*/ 275 w 374"/>
              <a:gd name="T1" fmla="*/ 0 h 431"/>
              <a:gd name="T2" fmla="*/ 311 w 374"/>
              <a:gd name="T3" fmla="*/ 1 h 431"/>
              <a:gd name="T4" fmla="*/ 344 w 374"/>
              <a:gd name="T5" fmla="*/ 7 h 431"/>
              <a:gd name="T6" fmla="*/ 374 w 374"/>
              <a:gd name="T7" fmla="*/ 17 h 431"/>
              <a:gd name="T8" fmla="*/ 354 w 374"/>
              <a:gd name="T9" fmla="*/ 96 h 431"/>
              <a:gd name="T10" fmla="*/ 332 w 374"/>
              <a:gd name="T11" fmla="*/ 83 h 431"/>
              <a:gd name="T12" fmla="*/ 303 w 374"/>
              <a:gd name="T13" fmla="*/ 74 h 431"/>
              <a:gd name="T14" fmla="*/ 270 w 374"/>
              <a:gd name="T15" fmla="*/ 71 h 431"/>
              <a:gd name="T16" fmla="*/ 243 w 374"/>
              <a:gd name="T17" fmla="*/ 74 h 431"/>
              <a:gd name="T18" fmla="*/ 220 w 374"/>
              <a:gd name="T19" fmla="*/ 80 h 431"/>
              <a:gd name="T20" fmla="*/ 198 w 374"/>
              <a:gd name="T21" fmla="*/ 90 h 431"/>
              <a:gd name="T22" fmla="*/ 181 w 374"/>
              <a:gd name="T23" fmla="*/ 104 h 431"/>
              <a:gd name="T24" fmla="*/ 164 w 374"/>
              <a:gd name="T25" fmla="*/ 126 h 431"/>
              <a:gd name="T26" fmla="*/ 154 w 374"/>
              <a:gd name="T27" fmla="*/ 152 h 431"/>
              <a:gd name="T28" fmla="*/ 339 w 374"/>
              <a:gd name="T29" fmla="*/ 152 h 431"/>
              <a:gd name="T30" fmla="*/ 328 w 374"/>
              <a:gd name="T31" fmla="*/ 195 h 431"/>
              <a:gd name="T32" fmla="*/ 147 w 374"/>
              <a:gd name="T33" fmla="*/ 195 h 431"/>
              <a:gd name="T34" fmla="*/ 147 w 374"/>
              <a:gd name="T35" fmla="*/ 204 h 431"/>
              <a:gd name="T36" fmla="*/ 147 w 374"/>
              <a:gd name="T37" fmla="*/ 212 h 431"/>
              <a:gd name="T38" fmla="*/ 147 w 374"/>
              <a:gd name="T39" fmla="*/ 222 h 431"/>
              <a:gd name="T40" fmla="*/ 147 w 374"/>
              <a:gd name="T41" fmla="*/ 234 h 431"/>
              <a:gd name="T42" fmla="*/ 319 w 374"/>
              <a:gd name="T43" fmla="*/ 234 h 431"/>
              <a:gd name="T44" fmla="*/ 308 w 374"/>
              <a:gd name="T45" fmla="*/ 277 h 431"/>
              <a:gd name="T46" fmla="*/ 154 w 374"/>
              <a:gd name="T47" fmla="*/ 277 h 431"/>
              <a:gd name="T48" fmla="*/ 164 w 374"/>
              <a:gd name="T49" fmla="*/ 304 h 431"/>
              <a:gd name="T50" fmla="*/ 180 w 374"/>
              <a:gd name="T51" fmla="*/ 324 h 431"/>
              <a:gd name="T52" fmla="*/ 198 w 374"/>
              <a:gd name="T53" fmla="*/ 340 h 431"/>
              <a:gd name="T54" fmla="*/ 219 w 374"/>
              <a:gd name="T55" fmla="*/ 350 h 431"/>
              <a:gd name="T56" fmla="*/ 242 w 374"/>
              <a:gd name="T57" fmla="*/ 356 h 431"/>
              <a:gd name="T58" fmla="*/ 267 w 374"/>
              <a:gd name="T59" fmla="*/ 359 h 431"/>
              <a:gd name="T60" fmla="*/ 299 w 374"/>
              <a:gd name="T61" fmla="*/ 356 h 431"/>
              <a:gd name="T62" fmla="*/ 326 w 374"/>
              <a:gd name="T63" fmla="*/ 350 h 431"/>
              <a:gd name="T64" fmla="*/ 351 w 374"/>
              <a:gd name="T65" fmla="*/ 340 h 431"/>
              <a:gd name="T66" fmla="*/ 371 w 374"/>
              <a:gd name="T67" fmla="*/ 324 h 431"/>
              <a:gd name="T68" fmla="*/ 371 w 374"/>
              <a:gd name="T69" fmla="*/ 412 h 431"/>
              <a:gd name="T70" fmla="*/ 341 w 374"/>
              <a:gd name="T71" fmla="*/ 422 h 431"/>
              <a:gd name="T72" fmla="*/ 306 w 374"/>
              <a:gd name="T73" fmla="*/ 428 h 431"/>
              <a:gd name="T74" fmla="*/ 269 w 374"/>
              <a:gd name="T75" fmla="*/ 431 h 431"/>
              <a:gd name="T76" fmla="*/ 230 w 374"/>
              <a:gd name="T77" fmla="*/ 428 h 431"/>
              <a:gd name="T78" fmla="*/ 196 w 374"/>
              <a:gd name="T79" fmla="*/ 421 h 431"/>
              <a:gd name="T80" fmla="*/ 162 w 374"/>
              <a:gd name="T81" fmla="*/ 411 h 431"/>
              <a:gd name="T82" fmla="*/ 134 w 374"/>
              <a:gd name="T83" fmla="*/ 393 h 431"/>
              <a:gd name="T84" fmla="*/ 106 w 374"/>
              <a:gd name="T85" fmla="*/ 373 h 431"/>
              <a:gd name="T86" fmla="*/ 81 w 374"/>
              <a:gd name="T87" fmla="*/ 346 h 431"/>
              <a:gd name="T88" fmla="*/ 62 w 374"/>
              <a:gd name="T89" fmla="*/ 313 h 431"/>
              <a:gd name="T90" fmla="*/ 49 w 374"/>
              <a:gd name="T91" fmla="*/ 277 h 431"/>
              <a:gd name="T92" fmla="*/ 0 w 374"/>
              <a:gd name="T93" fmla="*/ 277 h 431"/>
              <a:gd name="T94" fmla="*/ 10 w 374"/>
              <a:gd name="T95" fmla="*/ 234 h 431"/>
              <a:gd name="T96" fmla="*/ 43 w 374"/>
              <a:gd name="T97" fmla="*/ 234 h 431"/>
              <a:gd name="T98" fmla="*/ 43 w 374"/>
              <a:gd name="T99" fmla="*/ 218 h 431"/>
              <a:gd name="T100" fmla="*/ 43 w 374"/>
              <a:gd name="T101" fmla="*/ 195 h 431"/>
              <a:gd name="T102" fmla="*/ 0 w 374"/>
              <a:gd name="T103" fmla="*/ 195 h 431"/>
              <a:gd name="T104" fmla="*/ 10 w 374"/>
              <a:gd name="T105" fmla="*/ 152 h 431"/>
              <a:gd name="T106" fmla="*/ 50 w 374"/>
              <a:gd name="T107" fmla="*/ 152 h 431"/>
              <a:gd name="T108" fmla="*/ 63 w 374"/>
              <a:gd name="T109" fmla="*/ 116 h 431"/>
              <a:gd name="T110" fmla="*/ 82 w 374"/>
              <a:gd name="T111" fmla="*/ 84 h 431"/>
              <a:gd name="T112" fmla="*/ 106 w 374"/>
              <a:gd name="T113" fmla="*/ 57 h 431"/>
              <a:gd name="T114" fmla="*/ 134 w 374"/>
              <a:gd name="T115" fmla="*/ 37 h 431"/>
              <a:gd name="T116" fmla="*/ 164 w 374"/>
              <a:gd name="T117" fmla="*/ 20 h 431"/>
              <a:gd name="T118" fmla="*/ 198 w 374"/>
              <a:gd name="T119" fmla="*/ 8 h 431"/>
              <a:gd name="T120" fmla="*/ 234 w 374"/>
              <a:gd name="T121" fmla="*/ 2 h 431"/>
              <a:gd name="T122" fmla="*/ 275 w 374"/>
              <a:gd name="T123" fmla="*/ 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4" h="431">
                <a:moveTo>
                  <a:pt x="275" y="0"/>
                </a:moveTo>
                <a:lnTo>
                  <a:pt x="311" y="1"/>
                </a:lnTo>
                <a:lnTo>
                  <a:pt x="344" y="7"/>
                </a:lnTo>
                <a:lnTo>
                  <a:pt x="374" y="17"/>
                </a:lnTo>
                <a:lnTo>
                  <a:pt x="354" y="96"/>
                </a:lnTo>
                <a:lnTo>
                  <a:pt x="332" y="83"/>
                </a:lnTo>
                <a:lnTo>
                  <a:pt x="303" y="74"/>
                </a:lnTo>
                <a:lnTo>
                  <a:pt x="270" y="71"/>
                </a:lnTo>
                <a:lnTo>
                  <a:pt x="243" y="74"/>
                </a:lnTo>
                <a:lnTo>
                  <a:pt x="220" y="80"/>
                </a:lnTo>
                <a:lnTo>
                  <a:pt x="198" y="90"/>
                </a:lnTo>
                <a:lnTo>
                  <a:pt x="181" y="104"/>
                </a:lnTo>
                <a:lnTo>
                  <a:pt x="164" y="126"/>
                </a:lnTo>
                <a:lnTo>
                  <a:pt x="154" y="152"/>
                </a:lnTo>
                <a:lnTo>
                  <a:pt x="339" y="152"/>
                </a:lnTo>
                <a:lnTo>
                  <a:pt x="328" y="195"/>
                </a:lnTo>
                <a:lnTo>
                  <a:pt x="147" y="195"/>
                </a:lnTo>
                <a:lnTo>
                  <a:pt x="147" y="204"/>
                </a:lnTo>
                <a:lnTo>
                  <a:pt x="147" y="212"/>
                </a:lnTo>
                <a:lnTo>
                  <a:pt x="147" y="222"/>
                </a:lnTo>
                <a:lnTo>
                  <a:pt x="147" y="234"/>
                </a:lnTo>
                <a:lnTo>
                  <a:pt x="319" y="234"/>
                </a:lnTo>
                <a:lnTo>
                  <a:pt x="308" y="277"/>
                </a:lnTo>
                <a:lnTo>
                  <a:pt x="154" y="277"/>
                </a:lnTo>
                <a:lnTo>
                  <a:pt x="164" y="304"/>
                </a:lnTo>
                <a:lnTo>
                  <a:pt x="180" y="324"/>
                </a:lnTo>
                <a:lnTo>
                  <a:pt x="198" y="340"/>
                </a:lnTo>
                <a:lnTo>
                  <a:pt x="219" y="350"/>
                </a:lnTo>
                <a:lnTo>
                  <a:pt x="242" y="356"/>
                </a:lnTo>
                <a:lnTo>
                  <a:pt x="267" y="359"/>
                </a:lnTo>
                <a:lnTo>
                  <a:pt x="299" y="356"/>
                </a:lnTo>
                <a:lnTo>
                  <a:pt x="326" y="350"/>
                </a:lnTo>
                <a:lnTo>
                  <a:pt x="351" y="340"/>
                </a:lnTo>
                <a:lnTo>
                  <a:pt x="371" y="324"/>
                </a:lnTo>
                <a:lnTo>
                  <a:pt x="371" y="412"/>
                </a:lnTo>
                <a:lnTo>
                  <a:pt x="341" y="422"/>
                </a:lnTo>
                <a:lnTo>
                  <a:pt x="306" y="428"/>
                </a:lnTo>
                <a:lnTo>
                  <a:pt x="269" y="431"/>
                </a:lnTo>
                <a:lnTo>
                  <a:pt x="230" y="428"/>
                </a:lnTo>
                <a:lnTo>
                  <a:pt x="196" y="421"/>
                </a:lnTo>
                <a:lnTo>
                  <a:pt x="162" y="411"/>
                </a:lnTo>
                <a:lnTo>
                  <a:pt x="134" y="393"/>
                </a:lnTo>
                <a:lnTo>
                  <a:pt x="106" y="373"/>
                </a:lnTo>
                <a:lnTo>
                  <a:pt x="81" y="346"/>
                </a:lnTo>
                <a:lnTo>
                  <a:pt x="62" y="313"/>
                </a:lnTo>
                <a:lnTo>
                  <a:pt x="49" y="277"/>
                </a:lnTo>
                <a:lnTo>
                  <a:pt x="0" y="277"/>
                </a:lnTo>
                <a:lnTo>
                  <a:pt x="10" y="234"/>
                </a:lnTo>
                <a:lnTo>
                  <a:pt x="43" y="234"/>
                </a:lnTo>
                <a:lnTo>
                  <a:pt x="43" y="218"/>
                </a:lnTo>
                <a:lnTo>
                  <a:pt x="43" y="195"/>
                </a:lnTo>
                <a:lnTo>
                  <a:pt x="0" y="195"/>
                </a:lnTo>
                <a:lnTo>
                  <a:pt x="10" y="152"/>
                </a:lnTo>
                <a:lnTo>
                  <a:pt x="50" y="152"/>
                </a:lnTo>
                <a:lnTo>
                  <a:pt x="63" y="116"/>
                </a:lnTo>
                <a:lnTo>
                  <a:pt x="82" y="84"/>
                </a:lnTo>
                <a:lnTo>
                  <a:pt x="106" y="57"/>
                </a:lnTo>
                <a:lnTo>
                  <a:pt x="134" y="37"/>
                </a:lnTo>
                <a:lnTo>
                  <a:pt x="164" y="20"/>
                </a:lnTo>
                <a:lnTo>
                  <a:pt x="198" y="8"/>
                </a:lnTo>
                <a:lnTo>
                  <a:pt x="234" y="2"/>
                </a:lnTo>
                <a:lnTo>
                  <a:pt x="27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 flipH="1">
            <a:off x="4290670" y="5320650"/>
            <a:ext cx="3607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ection 2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2658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E656A6-B943-46AD-9991-B792ACA44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88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E656A6-B943-46AD-9991-B792ACA44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BD4CFD-6F5B-43F4-B714-CA39DE7753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ustering – Client profile</a:t>
            </a:r>
          </a:p>
        </p:txBody>
      </p:sp>
      <p:sp>
        <p:nvSpPr>
          <p:cNvPr id="79" name="Rectangle 78"/>
          <p:cNvSpPr/>
          <p:nvPr/>
        </p:nvSpPr>
        <p:spPr>
          <a:xfrm>
            <a:off x="-1" y="6024985"/>
            <a:ext cx="12188825" cy="8330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F6E64D-1164-49F1-97D6-782F1E997F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5147" y="1138425"/>
            <a:ext cx="9285714" cy="83809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CB81A00-5378-4A03-8564-79E806FC46F4}"/>
              </a:ext>
            </a:extLst>
          </p:cNvPr>
          <p:cNvSpPr/>
          <p:nvPr/>
        </p:nvSpPr>
        <p:spPr>
          <a:xfrm>
            <a:off x="1055147" y="2188189"/>
            <a:ext cx="9162300" cy="430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As an outcome of our clustering technique we were able to cluster our clients into two main cluster;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Non- Loan Takers</a:t>
            </a:r>
          </a:p>
          <a:p>
            <a:pPr marL="1676107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i="1" dirty="0"/>
              <a:t>Income USD57k</a:t>
            </a:r>
          </a:p>
          <a:p>
            <a:pPr marL="1676107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i="1" dirty="0" err="1"/>
              <a:t>CCAvg</a:t>
            </a:r>
            <a:r>
              <a:rPr lang="en-US" sz="1800" i="1" dirty="0"/>
              <a:t> USD1k a month</a:t>
            </a:r>
          </a:p>
          <a:p>
            <a:pPr marL="1676107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i="1" dirty="0"/>
              <a:t>Mortgage USD44k</a:t>
            </a:r>
          </a:p>
          <a:p>
            <a:pPr marL="1066613" lvl="1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b="1" dirty="0"/>
              <a:t>Loan Takers</a:t>
            </a:r>
          </a:p>
          <a:p>
            <a:pPr marL="1676107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Income USD145k</a:t>
            </a:r>
          </a:p>
          <a:p>
            <a:pPr marL="1676107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 err="1"/>
              <a:t>CCAvg</a:t>
            </a:r>
            <a:r>
              <a:rPr lang="en-US" sz="1800" dirty="0"/>
              <a:t> USD4k a month</a:t>
            </a:r>
          </a:p>
          <a:p>
            <a:pPr marL="1676107" lvl="2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800" dirty="0"/>
              <a:t>Mortgage USD109k</a:t>
            </a:r>
          </a:p>
          <a:p>
            <a:pPr marL="45712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  <a:p>
            <a:pPr marL="457120" lvl="0" indent="-45712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9288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BX5.e4qe0f6F14xgI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MtDziSs5exZPOcfVHD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MtDziSs5exZPOcfVHD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MtDziSs5exZPOcfVHD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BX5.e4qe0f6F14xgI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MtDziSs5exZPOcfVHD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BX5.e4qe0f6F14xgI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BmT0mSVia3Ly6YnX5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BmT0mSVia3Ly6YnX5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BmT0mSVia3Ly6YnX5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qFqTOSyoq9Xd30w2uX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BX5.e4qe0f6F14xgI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BmT0mSVia3Ly6YnX5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ypBTdjKpDsf_ItjVbA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WWARZp4RFDsqvLX3b4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V_ojP3EEbWQP0AJ7ytL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23</TotalTime>
  <Words>936</Words>
  <Application>Microsoft Office PowerPoint</Application>
  <PresentationFormat>Custom</PresentationFormat>
  <Paragraphs>131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Verdana</vt:lpstr>
      <vt:lpstr>Office Theme</vt:lpstr>
      <vt:lpstr>think-cell Slide</vt:lpstr>
      <vt:lpstr>Thera Bank Loan Purchase Modeling </vt:lpstr>
      <vt:lpstr>Project Overview </vt:lpstr>
      <vt:lpstr>Customers Data Set Overview  </vt:lpstr>
      <vt:lpstr>Exploring Data</vt:lpstr>
      <vt:lpstr>Data Summary – Basic profiling</vt:lpstr>
      <vt:lpstr>Data Summary – Understanding data relationships</vt:lpstr>
      <vt:lpstr>Data Summary – Understanding my variables  </vt:lpstr>
      <vt:lpstr>Client Base Clustering</vt:lpstr>
      <vt:lpstr>Clustering – Client profile</vt:lpstr>
      <vt:lpstr>Classification Model…</vt:lpstr>
      <vt:lpstr>Classification Model – Approach </vt:lpstr>
      <vt:lpstr>Classification Model – Model Selection Criteria  </vt:lpstr>
      <vt:lpstr>Random Forest – Key take Away</vt:lpstr>
      <vt:lpstr>Appendix: Classification Model…</vt:lpstr>
      <vt:lpstr>CART – Key take Away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Model PowerPoint Wide</dc:title>
  <dc:creator>Julian</dc:creator>
  <cp:lastModifiedBy>Mohanned Gomaa</cp:lastModifiedBy>
  <cp:revision>105</cp:revision>
  <dcterms:created xsi:type="dcterms:W3CDTF">2013-09-12T13:05:01Z</dcterms:created>
  <dcterms:modified xsi:type="dcterms:W3CDTF">2020-02-15T07:23:27Z</dcterms:modified>
</cp:coreProperties>
</file>